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330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04545F-D513-4347-8471-31C4C082E18E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0522BB-78EF-481F-9C81-1FCEA02A833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928829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35386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940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0048415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2962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960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65045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474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066279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BD8B0A7-1A40-5977-778C-ACCF174A8E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D8B0A7-1A40-5977-778C-ACCF174A8E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5" name="Group 4"/>
          <p:cNvGrpSpPr>
            <a:grpSpLocks noChangeAspect="1"/>
          </p:cNvGrpSpPr>
          <p:nvPr/>
        </p:nvGrpSpPr>
        <p:grpSpPr bwMode="auto">
          <a:xfrm>
            <a:off x="2963801" y="1552624"/>
            <a:ext cx="6264398" cy="4505275"/>
            <a:chOff x="-9" y="5"/>
            <a:chExt cx="5769" cy="4314"/>
          </a:xfrm>
          <a:solidFill>
            <a:schemeClr val="bg2"/>
          </a:solidFill>
        </p:grpSpPr>
        <p:sp>
          <p:nvSpPr>
            <p:cNvPr id="56" name="Freeform 5"/>
            <p:cNvSpPr>
              <a:spLocks/>
            </p:cNvSpPr>
            <p:nvPr/>
          </p:nvSpPr>
          <p:spPr bwMode="auto">
            <a:xfrm>
              <a:off x="3679" y="4064"/>
              <a:ext cx="312" cy="255"/>
            </a:xfrm>
            <a:custGeom>
              <a:avLst/>
              <a:gdLst>
                <a:gd name="T0" fmla="*/ 553 w 673"/>
                <a:gd name="T1" fmla="*/ 13 h 550"/>
                <a:gd name="T2" fmla="*/ 520 w 673"/>
                <a:gd name="T3" fmla="*/ 52 h 550"/>
                <a:gd name="T4" fmla="*/ 454 w 673"/>
                <a:gd name="T5" fmla="*/ 35 h 550"/>
                <a:gd name="T6" fmla="*/ 411 w 673"/>
                <a:gd name="T7" fmla="*/ 61 h 550"/>
                <a:gd name="T8" fmla="*/ 358 w 673"/>
                <a:gd name="T9" fmla="*/ 78 h 550"/>
                <a:gd name="T10" fmla="*/ 319 w 673"/>
                <a:gd name="T11" fmla="*/ 70 h 550"/>
                <a:gd name="T12" fmla="*/ 284 w 673"/>
                <a:gd name="T13" fmla="*/ 48 h 550"/>
                <a:gd name="T14" fmla="*/ 260 w 673"/>
                <a:gd name="T15" fmla="*/ 89 h 550"/>
                <a:gd name="T16" fmla="*/ 232 w 673"/>
                <a:gd name="T17" fmla="*/ 111 h 550"/>
                <a:gd name="T18" fmla="*/ 160 w 673"/>
                <a:gd name="T19" fmla="*/ 102 h 550"/>
                <a:gd name="T20" fmla="*/ 175 w 673"/>
                <a:gd name="T21" fmla="*/ 148 h 550"/>
                <a:gd name="T22" fmla="*/ 120 w 673"/>
                <a:gd name="T23" fmla="*/ 185 h 550"/>
                <a:gd name="T24" fmla="*/ 53 w 673"/>
                <a:gd name="T25" fmla="*/ 246 h 550"/>
                <a:gd name="T26" fmla="*/ 20 w 673"/>
                <a:gd name="T27" fmla="*/ 280 h 550"/>
                <a:gd name="T28" fmla="*/ 33 w 673"/>
                <a:gd name="T29" fmla="*/ 317 h 550"/>
                <a:gd name="T30" fmla="*/ 33 w 673"/>
                <a:gd name="T31" fmla="*/ 387 h 550"/>
                <a:gd name="T32" fmla="*/ 55 w 673"/>
                <a:gd name="T33" fmla="*/ 437 h 550"/>
                <a:gd name="T34" fmla="*/ 81 w 673"/>
                <a:gd name="T35" fmla="*/ 476 h 550"/>
                <a:gd name="T36" fmla="*/ 138 w 673"/>
                <a:gd name="T37" fmla="*/ 498 h 550"/>
                <a:gd name="T38" fmla="*/ 219 w 673"/>
                <a:gd name="T39" fmla="*/ 500 h 550"/>
                <a:gd name="T40" fmla="*/ 341 w 673"/>
                <a:gd name="T41" fmla="*/ 534 h 550"/>
                <a:gd name="T42" fmla="*/ 374 w 673"/>
                <a:gd name="T43" fmla="*/ 476 h 550"/>
                <a:gd name="T44" fmla="*/ 459 w 673"/>
                <a:gd name="T45" fmla="*/ 426 h 550"/>
                <a:gd name="T46" fmla="*/ 507 w 673"/>
                <a:gd name="T47" fmla="*/ 395 h 550"/>
                <a:gd name="T48" fmla="*/ 568 w 673"/>
                <a:gd name="T49" fmla="*/ 356 h 550"/>
                <a:gd name="T50" fmla="*/ 551 w 673"/>
                <a:gd name="T51" fmla="*/ 306 h 550"/>
                <a:gd name="T52" fmla="*/ 592 w 673"/>
                <a:gd name="T53" fmla="*/ 272 h 550"/>
                <a:gd name="T54" fmla="*/ 572 w 673"/>
                <a:gd name="T55" fmla="*/ 228 h 550"/>
                <a:gd name="T56" fmla="*/ 633 w 673"/>
                <a:gd name="T57" fmla="*/ 156 h 550"/>
                <a:gd name="T58" fmla="*/ 671 w 673"/>
                <a:gd name="T59" fmla="*/ 124 h 550"/>
                <a:gd name="T60" fmla="*/ 649 w 673"/>
                <a:gd name="T61" fmla="*/ 43 h 550"/>
                <a:gd name="T62" fmla="*/ 590 w 673"/>
                <a:gd name="T63" fmla="*/ 31 h 550"/>
                <a:gd name="T64" fmla="*/ 553 w 673"/>
                <a:gd name="T65" fmla="*/ 13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3" h="550">
                  <a:moveTo>
                    <a:pt x="553" y="13"/>
                  </a:moveTo>
                  <a:cubicBezTo>
                    <a:pt x="553" y="13"/>
                    <a:pt x="540" y="59"/>
                    <a:pt x="520" y="52"/>
                  </a:cubicBezTo>
                  <a:cubicBezTo>
                    <a:pt x="500" y="44"/>
                    <a:pt x="476" y="33"/>
                    <a:pt x="454" y="35"/>
                  </a:cubicBezTo>
                  <a:cubicBezTo>
                    <a:pt x="433" y="37"/>
                    <a:pt x="426" y="46"/>
                    <a:pt x="411" y="61"/>
                  </a:cubicBezTo>
                  <a:cubicBezTo>
                    <a:pt x="395" y="76"/>
                    <a:pt x="378" y="85"/>
                    <a:pt x="358" y="78"/>
                  </a:cubicBezTo>
                  <a:cubicBezTo>
                    <a:pt x="339" y="70"/>
                    <a:pt x="330" y="85"/>
                    <a:pt x="319" y="70"/>
                  </a:cubicBezTo>
                  <a:cubicBezTo>
                    <a:pt x="308" y="55"/>
                    <a:pt x="297" y="35"/>
                    <a:pt x="284" y="48"/>
                  </a:cubicBezTo>
                  <a:cubicBezTo>
                    <a:pt x="271" y="61"/>
                    <a:pt x="258" y="68"/>
                    <a:pt x="260" y="89"/>
                  </a:cubicBezTo>
                  <a:cubicBezTo>
                    <a:pt x="262" y="109"/>
                    <a:pt x="245" y="119"/>
                    <a:pt x="232" y="111"/>
                  </a:cubicBezTo>
                  <a:cubicBezTo>
                    <a:pt x="219" y="104"/>
                    <a:pt x="162" y="83"/>
                    <a:pt x="160" y="102"/>
                  </a:cubicBezTo>
                  <a:cubicBezTo>
                    <a:pt x="157" y="120"/>
                    <a:pt x="194" y="135"/>
                    <a:pt x="175" y="148"/>
                  </a:cubicBezTo>
                  <a:cubicBezTo>
                    <a:pt x="155" y="161"/>
                    <a:pt x="140" y="178"/>
                    <a:pt x="120" y="185"/>
                  </a:cubicBezTo>
                  <a:cubicBezTo>
                    <a:pt x="101" y="193"/>
                    <a:pt x="72" y="230"/>
                    <a:pt x="53" y="246"/>
                  </a:cubicBezTo>
                  <a:cubicBezTo>
                    <a:pt x="33" y="263"/>
                    <a:pt x="0" y="261"/>
                    <a:pt x="20" y="280"/>
                  </a:cubicBezTo>
                  <a:cubicBezTo>
                    <a:pt x="39" y="298"/>
                    <a:pt x="44" y="296"/>
                    <a:pt x="33" y="317"/>
                  </a:cubicBezTo>
                  <a:cubicBezTo>
                    <a:pt x="22" y="337"/>
                    <a:pt x="35" y="371"/>
                    <a:pt x="33" y="387"/>
                  </a:cubicBezTo>
                  <a:cubicBezTo>
                    <a:pt x="31" y="404"/>
                    <a:pt x="48" y="413"/>
                    <a:pt x="55" y="437"/>
                  </a:cubicBezTo>
                  <a:cubicBezTo>
                    <a:pt x="61" y="461"/>
                    <a:pt x="50" y="459"/>
                    <a:pt x="81" y="476"/>
                  </a:cubicBezTo>
                  <a:cubicBezTo>
                    <a:pt x="112" y="493"/>
                    <a:pt x="103" y="484"/>
                    <a:pt x="138" y="498"/>
                  </a:cubicBezTo>
                  <a:cubicBezTo>
                    <a:pt x="173" y="513"/>
                    <a:pt x="197" y="487"/>
                    <a:pt x="219" y="500"/>
                  </a:cubicBezTo>
                  <a:cubicBezTo>
                    <a:pt x="240" y="513"/>
                    <a:pt x="332" y="550"/>
                    <a:pt x="341" y="534"/>
                  </a:cubicBezTo>
                  <a:cubicBezTo>
                    <a:pt x="350" y="517"/>
                    <a:pt x="341" y="476"/>
                    <a:pt x="374" y="476"/>
                  </a:cubicBezTo>
                  <a:cubicBezTo>
                    <a:pt x="406" y="476"/>
                    <a:pt x="452" y="441"/>
                    <a:pt x="459" y="426"/>
                  </a:cubicBezTo>
                  <a:cubicBezTo>
                    <a:pt x="465" y="411"/>
                    <a:pt x="489" y="395"/>
                    <a:pt x="507" y="395"/>
                  </a:cubicBezTo>
                  <a:cubicBezTo>
                    <a:pt x="524" y="395"/>
                    <a:pt x="588" y="371"/>
                    <a:pt x="568" y="356"/>
                  </a:cubicBezTo>
                  <a:cubicBezTo>
                    <a:pt x="548" y="341"/>
                    <a:pt x="531" y="309"/>
                    <a:pt x="551" y="306"/>
                  </a:cubicBezTo>
                  <a:cubicBezTo>
                    <a:pt x="570" y="302"/>
                    <a:pt x="609" y="283"/>
                    <a:pt x="592" y="272"/>
                  </a:cubicBezTo>
                  <a:cubicBezTo>
                    <a:pt x="575" y="261"/>
                    <a:pt x="531" y="267"/>
                    <a:pt x="572" y="228"/>
                  </a:cubicBezTo>
                  <a:cubicBezTo>
                    <a:pt x="614" y="189"/>
                    <a:pt x="609" y="159"/>
                    <a:pt x="633" y="156"/>
                  </a:cubicBezTo>
                  <a:cubicBezTo>
                    <a:pt x="658" y="152"/>
                    <a:pt x="673" y="156"/>
                    <a:pt x="671" y="124"/>
                  </a:cubicBezTo>
                  <a:cubicBezTo>
                    <a:pt x="668" y="93"/>
                    <a:pt x="668" y="52"/>
                    <a:pt x="649" y="43"/>
                  </a:cubicBezTo>
                  <a:cubicBezTo>
                    <a:pt x="629" y="33"/>
                    <a:pt x="599" y="41"/>
                    <a:pt x="590" y="31"/>
                  </a:cubicBezTo>
                  <a:cubicBezTo>
                    <a:pt x="581" y="22"/>
                    <a:pt x="555" y="0"/>
                    <a:pt x="553" y="13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" name="Freeform 6"/>
            <p:cNvSpPr>
              <a:spLocks/>
            </p:cNvSpPr>
            <p:nvPr/>
          </p:nvSpPr>
          <p:spPr bwMode="auto">
            <a:xfrm>
              <a:off x="-9" y="633"/>
              <a:ext cx="2307" cy="1593"/>
            </a:xfrm>
            <a:custGeom>
              <a:avLst/>
              <a:gdLst>
                <a:gd name="T0" fmla="*/ 4317 w 4981"/>
                <a:gd name="T1" fmla="*/ 2284 h 3440"/>
                <a:gd name="T2" fmla="*/ 4622 w 4981"/>
                <a:gd name="T3" fmla="*/ 2061 h 3440"/>
                <a:gd name="T4" fmla="*/ 4946 w 4981"/>
                <a:gd name="T5" fmla="*/ 1850 h 3440"/>
                <a:gd name="T6" fmla="*/ 4930 w 4981"/>
                <a:gd name="T7" fmla="*/ 1693 h 3440"/>
                <a:gd name="T8" fmla="*/ 4812 w 4981"/>
                <a:gd name="T9" fmla="*/ 1470 h 3440"/>
                <a:gd name="T10" fmla="*/ 4636 w 4981"/>
                <a:gd name="T11" fmla="*/ 1342 h 3440"/>
                <a:gd name="T12" fmla="*/ 4488 w 4981"/>
                <a:gd name="T13" fmla="*/ 1228 h 3440"/>
                <a:gd name="T14" fmla="*/ 4082 w 4981"/>
                <a:gd name="T15" fmla="*/ 1137 h 3440"/>
                <a:gd name="T16" fmla="*/ 3931 w 4981"/>
                <a:gd name="T17" fmla="*/ 906 h 3440"/>
                <a:gd name="T18" fmla="*/ 3984 w 4981"/>
                <a:gd name="T19" fmla="*/ 684 h 3440"/>
                <a:gd name="T20" fmla="*/ 3787 w 4981"/>
                <a:gd name="T21" fmla="*/ 408 h 3440"/>
                <a:gd name="T22" fmla="*/ 3607 w 4981"/>
                <a:gd name="T23" fmla="*/ 314 h 3440"/>
                <a:gd name="T24" fmla="*/ 3476 w 4981"/>
                <a:gd name="T25" fmla="*/ 141 h 3440"/>
                <a:gd name="T26" fmla="*/ 3472 w 4981"/>
                <a:gd name="T27" fmla="*/ 7 h 3440"/>
                <a:gd name="T28" fmla="*/ 3233 w 4981"/>
                <a:gd name="T29" fmla="*/ 27 h 3440"/>
                <a:gd name="T30" fmla="*/ 3096 w 4981"/>
                <a:gd name="T31" fmla="*/ 155 h 3440"/>
                <a:gd name="T32" fmla="*/ 2965 w 4981"/>
                <a:gd name="T33" fmla="*/ 333 h 3440"/>
                <a:gd name="T34" fmla="*/ 2876 w 4981"/>
                <a:gd name="T35" fmla="*/ 497 h 3440"/>
                <a:gd name="T36" fmla="*/ 2726 w 4981"/>
                <a:gd name="T37" fmla="*/ 478 h 3440"/>
                <a:gd name="T38" fmla="*/ 2359 w 4981"/>
                <a:gd name="T39" fmla="*/ 536 h 3440"/>
                <a:gd name="T40" fmla="*/ 2224 w 4981"/>
                <a:gd name="T41" fmla="*/ 781 h 3440"/>
                <a:gd name="T42" fmla="*/ 2175 w 4981"/>
                <a:gd name="T43" fmla="*/ 850 h 3440"/>
                <a:gd name="T44" fmla="*/ 2008 w 4981"/>
                <a:gd name="T45" fmla="*/ 809 h 3440"/>
                <a:gd name="T46" fmla="*/ 1710 w 4981"/>
                <a:gd name="T47" fmla="*/ 836 h 3440"/>
                <a:gd name="T48" fmla="*/ 1759 w 4981"/>
                <a:gd name="T49" fmla="*/ 1017 h 3440"/>
                <a:gd name="T50" fmla="*/ 1775 w 4981"/>
                <a:gd name="T51" fmla="*/ 1290 h 3440"/>
                <a:gd name="T52" fmla="*/ 1674 w 4981"/>
                <a:gd name="T53" fmla="*/ 1378 h 3440"/>
                <a:gd name="T54" fmla="*/ 1559 w 4981"/>
                <a:gd name="T55" fmla="*/ 1562 h 3440"/>
                <a:gd name="T56" fmla="*/ 1287 w 4981"/>
                <a:gd name="T57" fmla="*/ 1623 h 3440"/>
                <a:gd name="T58" fmla="*/ 1051 w 4981"/>
                <a:gd name="T59" fmla="*/ 1715 h 3440"/>
                <a:gd name="T60" fmla="*/ 760 w 4981"/>
                <a:gd name="T61" fmla="*/ 1768 h 3440"/>
                <a:gd name="T62" fmla="*/ 563 w 4981"/>
                <a:gd name="T63" fmla="*/ 1787 h 3440"/>
                <a:gd name="T64" fmla="*/ 370 w 4981"/>
                <a:gd name="T65" fmla="*/ 1723 h 3440"/>
                <a:gd name="T66" fmla="*/ 180 w 4981"/>
                <a:gd name="T67" fmla="*/ 1768 h 3440"/>
                <a:gd name="T68" fmla="*/ 42 w 4981"/>
                <a:gd name="T69" fmla="*/ 1934 h 3440"/>
                <a:gd name="T70" fmla="*/ 23 w 4981"/>
                <a:gd name="T71" fmla="*/ 2093 h 3440"/>
                <a:gd name="T72" fmla="*/ 232 w 4981"/>
                <a:gd name="T73" fmla="*/ 2199 h 3440"/>
                <a:gd name="T74" fmla="*/ 190 w 4981"/>
                <a:gd name="T75" fmla="*/ 2415 h 3440"/>
                <a:gd name="T76" fmla="*/ 105 w 4981"/>
                <a:gd name="T77" fmla="*/ 2454 h 3440"/>
                <a:gd name="T78" fmla="*/ 53 w 4981"/>
                <a:gd name="T79" fmla="*/ 2535 h 3440"/>
                <a:gd name="T80" fmla="*/ 219 w 4981"/>
                <a:gd name="T81" fmla="*/ 2595 h 3440"/>
                <a:gd name="T82" fmla="*/ 307 w 4981"/>
                <a:gd name="T83" fmla="*/ 2806 h 3440"/>
                <a:gd name="T84" fmla="*/ 442 w 4981"/>
                <a:gd name="T85" fmla="*/ 2962 h 3440"/>
                <a:gd name="T86" fmla="*/ 717 w 4981"/>
                <a:gd name="T87" fmla="*/ 3144 h 3440"/>
                <a:gd name="T88" fmla="*/ 861 w 4981"/>
                <a:gd name="T89" fmla="*/ 3385 h 3440"/>
                <a:gd name="T90" fmla="*/ 1054 w 4981"/>
                <a:gd name="T91" fmla="*/ 3422 h 3440"/>
                <a:gd name="T92" fmla="*/ 1241 w 4981"/>
                <a:gd name="T93" fmla="*/ 3196 h 3440"/>
                <a:gd name="T94" fmla="*/ 1547 w 4981"/>
                <a:gd name="T95" fmla="*/ 3325 h 3440"/>
                <a:gd name="T96" fmla="*/ 1779 w 4981"/>
                <a:gd name="T97" fmla="*/ 3247 h 3440"/>
                <a:gd name="T98" fmla="*/ 2063 w 4981"/>
                <a:gd name="T99" fmla="*/ 3348 h 3440"/>
                <a:gd name="T100" fmla="*/ 2355 w 4981"/>
                <a:gd name="T101" fmla="*/ 3325 h 3440"/>
                <a:gd name="T102" fmla="*/ 2823 w 4981"/>
                <a:gd name="T103" fmla="*/ 3221 h 3440"/>
                <a:gd name="T104" fmla="*/ 3303 w 4981"/>
                <a:gd name="T105" fmla="*/ 3314 h 3440"/>
                <a:gd name="T106" fmla="*/ 3657 w 4981"/>
                <a:gd name="T107" fmla="*/ 3310 h 3440"/>
                <a:gd name="T108" fmla="*/ 3683 w 4981"/>
                <a:gd name="T109" fmla="*/ 3162 h 3440"/>
                <a:gd name="T110" fmla="*/ 3640 w 4981"/>
                <a:gd name="T111" fmla="*/ 2988 h 3440"/>
                <a:gd name="T112" fmla="*/ 3701 w 4981"/>
                <a:gd name="T113" fmla="*/ 2721 h 3440"/>
                <a:gd name="T114" fmla="*/ 4129 w 4981"/>
                <a:gd name="T115" fmla="*/ 2651 h 3440"/>
                <a:gd name="T116" fmla="*/ 4380 w 4981"/>
                <a:gd name="T117" fmla="*/ 2630 h 3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81" h="3440">
                  <a:moveTo>
                    <a:pt x="4343" y="2565"/>
                  </a:moveTo>
                  <a:cubicBezTo>
                    <a:pt x="4365" y="2536"/>
                    <a:pt x="4347" y="2491"/>
                    <a:pt x="4343" y="2454"/>
                  </a:cubicBezTo>
                  <a:cubicBezTo>
                    <a:pt x="4339" y="2417"/>
                    <a:pt x="4317" y="2350"/>
                    <a:pt x="4317" y="2284"/>
                  </a:cubicBezTo>
                  <a:cubicBezTo>
                    <a:pt x="4317" y="2217"/>
                    <a:pt x="4391" y="2195"/>
                    <a:pt x="4430" y="2191"/>
                  </a:cubicBezTo>
                  <a:cubicBezTo>
                    <a:pt x="4470" y="2187"/>
                    <a:pt x="4500" y="2180"/>
                    <a:pt x="4513" y="2143"/>
                  </a:cubicBezTo>
                  <a:cubicBezTo>
                    <a:pt x="4526" y="2106"/>
                    <a:pt x="4592" y="2095"/>
                    <a:pt x="4622" y="2061"/>
                  </a:cubicBezTo>
                  <a:cubicBezTo>
                    <a:pt x="4653" y="2028"/>
                    <a:pt x="4701" y="2035"/>
                    <a:pt x="4745" y="2006"/>
                  </a:cubicBezTo>
                  <a:cubicBezTo>
                    <a:pt x="4788" y="1976"/>
                    <a:pt x="4841" y="1987"/>
                    <a:pt x="4911" y="1965"/>
                  </a:cubicBezTo>
                  <a:cubicBezTo>
                    <a:pt x="4981" y="1943"/>
                    <a:pt x="4933" y="1895"/>
                    <a:pt x="4946" y="1850"/>
                  </a:cubicBezTo>
                  <a:cubicBezTo>
                    <a:pt x="4951" y="1831"/>
                    <a:pt x="4965" y="1812"/>
                    <a:pt x="4978" y="1797"/>
                  </a:cubicBezTo>
                  <a:cubicBezTo>
                    <a:pt x="4972" y="1792"/>
                    <a:pt x="4980" y="1784"/>
                    <a:pt x="4976" y="1765"/>
                  </a:cubicBezTo>
                  <a:cubicBezTo>
                    <a:pt x="4970" y="1734"/>
                    <a:pt x="4947" y="1718"/>
                    <a:pt x="4930" y="1693"/>
                  </a:cubicBezTo>
                  <a:cubicBezTo>
                    <a:pt x="4914" y="1668"/>
                    <a:pt x="4891" y="1681"/>
                    <a:pt x="4885" y="1631"/>
                  </a:cubicBezTo>
                  <a:cubicBezTo>
                    <a:pt x="4878" y="1581"/>
                    <a:pt x="4852" y="1551"/>
                    <a:pt x="4845" y="1523"/>
                  </a:cubicBezTo>
                  <a:cubicBezTo>
                    <a:pt x="4839" y="1495"/>
                    <a:pt x="4852" y="1495"/>
                    <a:pt x="4812" y="1470"/>
                  </a:cubicBezTo>
                  <a:cubicBezTo>
                    <a:pt x="4773" y="1445"/>
                    <a:pt x="4803" y="1442"/>
                    <a:pt x="4796" y="1409"/>
                  </a:cubicBezTo>
                  <a:cubicBezTo>
                    <a:pt x="4790" y="1376"/>
                    <a:pt x="4757" y="1387"/>
                    <a:pt x="4721" y="1384"/>
                  </a:cubicBezTo>
                  <a:cubicBezTo>
                    <a:pt x="4685" y="1381"/>
                    <a:pt x="4675" y="1362"/>
                    <a:pt x="4636" y="1342"/>
                  </a:cubicBezTo>
                  <a:cubicBezTo>
                    <a:pt x="4596" y="1323"/>
                    <a:pt x="4629" y="1328"/>
                    <a:pt x="4596" y="1301"/>
                  </a:cubicBezTo>
                  <a:cubicBezTo>
                    <a:pt x="4563" y="1273"/>
                    <a:pt x="4560" y="1278"/>
                    <a:pt x="4524" y="1276"/>
                  </a:cubicBezTo>
                  <a:cubicBezTo>
                    <a:pt x="4488" y="1273"/>
                    <a:pt x="4495" y="1251"/>
                    <a:pt x="4488" y="1228"/>
                  </a:cubicBezTo>
                  <a:cubicBezTo>
                    <a:pt x="4482" y="1206"/>
                    <a:pt x="4452" y="1206"/>
                    <a:pt x="4416" y="1184"/>
                  </a:cubicBezTo>
                  <a:cubicBezTo>
                    <a:pt x="4380" y="1162"/>
                    <a:pt x="4252" y="1167"/>
                    <a:pt x="4210" y="1164"/>
                  </a:cubicBezTo>
                  <a:cubicBezTo>
                    <a:pt x="4167" y="1162"/>
                    <a:pt x="4147" y="1145"/>
                    <a:pt x="4082" y="1137"/>
                  </a:cubicBezTo>
                  <a:cubicBezTo>
                    <a:pt x="4016" y="1128"/>
                    <a:pt x="4056" y="1120"/>
                    <a:pt x="3957" y="1095"/>
                  </a:cubicBezTo>
                  <a:cubicBezTo>
                    <a:pt x="3859" y="1070"/>
                    <a:pt x="3885" y="1031"/>
                    <a:pt x="3879" y="1003"/>
                  </a:cubicBezTo>
                  <a:cubicBezTo>
                    <a:pt x="3872" y="975"/>
                    <a:pt x="3889" y="936"/>
                    <a:pt x="3931" y="906"/>
                  </a:cubicBezTo>
                  <a:cubicBezTo>
                    <a:pt x="3974" y="875"/>
                    <a:pt x="3974" y="850"/>
                    <a:pt x="3948" y="814"/>
                  </a:cubicBezTo>
                  <a:cubicBezTo>
                    <a:pt x="3921" y="778"/>
                    <a:pt x="3948" y="781"/>
                    <a:pt x="3977" y="753"/>
                  </a:cubicBezTo>
                  <a:cubicBezTo>
                    <a:pt x="4007" y="725"/>
                    <a:pt x="3990" y="714"/>
                    <a:pt x="3984" y="684"/>
                  </a:cubicBezTo>
                  <a:cubicBezTo>
                    <a:pt x="3977" y="653"/>
                    <a:pt x="3964" y="625"/>
                    <a:pt x="3928" y="595"/>
                  </a:cubicBezTo>
                  <a:cubicBezTo>
                    <a:pt x="3892" y="564"/>
                    <a:pt x="3885" y="481"/>
                    <a:pt x="3875" y="444"/>
                  </a:cubicBezTo>
                  <a:cubicBezTo>
                    <a:pt x="3866" y="408"/>
                    <a:pt x="3830" y="408"/>
                    <a:pt x="3787" y="408"/>
                  </a:cubicBezTo>
                  <a:cubicBezTo>
                    <a:pt x="3744" y="408"/>
                    <a:pt x="3751" y="369"/>
                    <a:pt x="3731" y="347"/>
                  </a:cubicBezTo>
                  <a:cubicBezTo>
                    <a:pt x="3712" y="325"/>
                    <a:pt x="3689" y="344"/>
                    <a:pt x="3653" y="364"/>
                  </a:cubicBezTo>
                  <a:cubicBezTo>
                    <a:pt x="3617" y="383"/>
                    <a:pt x="3626" y="358"/>
                    <a:pt x="3607" y="314"/>
                  </a:cubicBezTo>
                  <a:cubicBezTo>
                    <a:pt x="3587" y="269"/>
                    <a:pt x="3577" y="283"/>
                    <a:pt x="3564" y="239"/>
                  </a:cubicBezTo>
                  <a:cubicBezTo>
                    <a:pt x="3551" y="194"/>
                    <a:pt x="3499" y="203"/>
                    <a:pt x="3469" y="189"/>
                  </a:cubicBezTo>
                  <a:cubicBezTo>
                    <a:pt x="3440" y="175"/>
                    <a:pt x="3450" y="175"/>
                    <a:pt x="3476" y="141"/>
                  </a:cubicBezTo>
                  <a:cubicBezTo>
                    <a:pt x="3502" y="108"/>
                    <a:pt x="3450" y="108"/>
                    <a:pt x="3430" y="91"/>
                  </a:cubicBezTo>
                  <a:cubicBezTo>
                    <a:pt x="3410" y="75"/>
                    <a:pt x="3417" y="72"/>
                    <a:pt x="3453" y="50"/>
                  </a:cubicBezTo>
                  <a:cubicBezTo>
                    <a:pt x="3467" y="41"/>
                    <a:pt x="3471" y="24"/>
                    <a:pt x="3472" y="7"/>
                  </a:cubicBezTo>
                  <a:cubicBezTo>
                    <a:pt x="3467" y="9"/>
                    <a:pt x="3462" y="9"/>
                    <a:pt x="3436" y="11"/>
                  </a:cubicBezTo>
                  <a:cubicBezTo>
                    <a:pt x="3391" y="14"/>
                    <a:pt x="3351" y="25"/>
                    <a:pt x="3341" y="14"/>
                  </a:cubicBezTo>
                  <a:cubicBezTo>
                    <a:pt x="3332" y="2"/>
                    <a:pt x="3233" y="0"/>
                    <a:pt x="3233" y="27"/>
                  </a:cubicBezTo>
                  <a:cubicBezTo>
                    <a:pt x="3233" y="55"/>
                    <a:pt x="3256" y="58"/>
                    <a:pt x="3227" y="91"/>
                  </a:cubicBezTo>
                  <a:cubicBezTo>
                    <a:pt x="3197" y="125"/>
                    <a:pt x="3201" y="128"/>
                    <a:pt x="3171" y="139"/>
                  </a:cubicBezTo>
                  <a:cubicBezTo>
                    <a:pt x="3142" y="150"/>
                    <a:pt x="3125" y="158"/>
                    <a:pt x="3096" y="155"/>
                  </a:cubicBezTo>
                  <a:cubicBezTo>
                    <a:pt x="3066" y="153"/>
                    <a:pt x="3053" y="128"/>
                    <a:pt x="3027" y="158"/>
                  </a:cubicBezTo>
                  <a:cubicBezTo>
                    <a:pt x="3001" y="189"/>
                    <a:pt x="2965" y="236"/>
                    <a:pt x="2965" y="264"/>
                  </a:cubicBezTo>
                  <a:cubicBezTo>
                    <a:pt x="2965" y="292"/>
                    <a:pt x="2965" y="305"/>
                    <a:pt x="2965" y="333"/>
                  </a:cubicBezTo>
                  <a:cubicBezTo>
                    <a:pt x="2965" y="361"/>
                    <a:pt x="2955" y="367"/>
                    <a:pt x="2968" y="392"/>
                  </a:cubicBezTo>
                  <a:cubicBezTo>
                    <a:pt x="2981" y="417"/>
                    <a:pt x="2981" y="419"/>
                    <a:pt x="2965" y="442"/>
                  </a:cubicBezTo>
                  <a:cubicBezTo>
                    <a:pt x="2948" y="464"/>
                    <a:pt x="2893" y="494"/>
                    <a:pt x="2876" y="497"/>
                  </a:cubicBezTo>
                  <a:cubicBezTo>
                    <a:pt x="2860" y="500"/>
                    <a:pt x="2824" y="494"/>
                    <a:pt x="2814" y="511"/>
                  </a:cubicBezTo>
                  <a:cubicBezTo>
                    <a:pt x="2804" y="528"/>
                    <a:pt x="2778" y="517"/>
                    <a:pt x="2768" y="508"/>
                  </a:cubicBezTo>
                  <a:cubicBezTo>
                    <a:pt x="2758" y="500"/>
                    <a:pt x="2762" y="478"/>
                    <a:pt x="2726" y="478"/>
                  </a:cubicBezTo>
                  <a:cubicBezTo>
                    <a:pt x="2690" y="478"/>
                    <a:pt x="2621" y="489"/>
                    <a:pt x="2588" y="456"/>
                  </a:cubicBezTo>
                  <a:cubicBezTo>
                    <a:pt x="2555" y="422"/>
                    <a:pt x="2460" y="330"/>
                    <a:pt x="2444" y="400"/>
                  </a:cubicBezTo>
                  <a:cubicBezTo>
                    <a:pt x="2427" y="469"/>
                    <a:pt x="2382" y="503"/>
                    <a:pt x="2359" y="536"/>
                  </a:cubicBezTo>
                  <a:cubicBezTo>
                    <a:pt x="2336" y="570"/>
                    <a:pt x="2319" y="589"/>
                    <a:pt x="2293" y="631"/>
                  </a:cubicBezTo>
                  <a:cubicBezTo>
                    <a:pt x="2267" y="672"/>
                    <a:pt x="2290" y="689"/>
                    <a:pt x="2260" y="711"/>
                  </a:cubicBezTo>
                  <a:cubicBezTo>
                    <a:pt x="2231" y="734"/>
                    <a:pt x="2178" y="759"/>
                    <a:pt x="2224" y="781"/>
                  </a:cubicBezTo>
                  <a:cubicBezTo>
                    <a:pt x="2270" y="803"/>
                    <a:pt x="2293" y="823"/>
                    <a:pt x="2273" y="845"/>
                  </a:cubicBezTo>
                  <a:cubicBezTo>
                    <a:pt x="2254" y="867"/>
                    <a:pt x="2247" y="917"/>
                    <a:pt x="2224" y="884"/>
                  </a:cubicBezTo>
                  <a:cubicBezTo>
                    <a:pt x="2201" y="850"/>
                    <a:pt x="2205" y="842"/>
                    <a:pt x="2175" y="850"/>
                  </a:cubicBezTo>
                  <a:cubicBezTo>
                    <a:pt x="2146" y="859"/>
                    <a:pt x="2113" y="859"/>
                    <a:pt x="2106" y="836"/>
                  </a:cubicBezTo>
                  <a:cubicBezTo>
                    <a:pt x="2100" y="814"/>
                    <a:pt x="2113" y="784"/>
                    <a:pt x="2077" y="797"/>
                  </a:cubicBezTo>
                  <a:cubicBezTo>
                    <a:pt x="2041" y="811"/>
                    <a:pt x="2038" y="809"/>
                    <a:pt x="2008" y="809"/>
                  </a:cubicBezTo>
                  <a:cubicBezTo>
                    <a:pt x="1979" y="809"/>
                    <a:pt x="1949" y="836"/>
                    <a:pt x="1913" y="817"/>
                  </a:cubicBezTo>
                  <a:cubicBezTo>
                    <a:pt x="1877" y="797"/>
                    <a:pt x="1854" y="828"/>
                    <a:pt x="1825" y="828"/>
                  </a:cubicBezTo>
                  <a:cubicBezTo>
                    <a:pt x="1795" y="828"/>
                    <a:pt x="1713" y="814"/>
                    <a:pt x="1710" y="836"/>
                  </a:cubicBezTo>
                  <a:cubicBezTo>
                    <a:pt x="1707" y="859"/>
                    <a:pt x="1694" y="881"/>
                    <a:pt x="1733" y="886"/>
                  </a:cubicBezTo>
                  <a:cubicBezTo>
                    <a:pt x="1772" y="892"/>
                    <a:pt x="1821" y="895"/>
                    <a:pt x="1798" y="925"/>
                  </a:cubicBezTo>
                  <a:cubicBezTo>
                    <a:pt x="1775" y="956"/>
                    <a:pt x="1756" y="973"/>
                    <a:pt x="1759" y="1017"/>
                  </a:cubicBezTo>
                  <a:cubicBezTo>
                    <a:pt x="1762" y="1062"/>
                    <a:pt x="1746" y="1089"/>
                    <a:pt x="1766" y="1145"/>
                  </a:cubicBezTo>
                  <a:cubicBezTo>
                    <a:pt x="1785" y="1201"/>
                    <a:pt x="1782" y="1209"/>
                    <a:pt x="1782" y="1237"/>
                  </a:cubicBezTo>
                  <a:cubicBezTo>
                    <a:pt x="1782" y="1265"/>
                    <a:pt x="1759" y="1256"/>
                    <a:pt x="1775" y="1290"/>
                  </a:cubicBezTo>
                  <a:cubicBezTo>
                    <a:pt x="1792" y="1323"/>
                    <a:pt x="1779" y="1337"/>
                    <a:pt x="1759" y="1323"/>
                  </a:cubicBezTo>
                  <a:cubicBezTo>
                    <a:pt x="1739" y="1309"/>
                    <a:pt x="1716" y="1306"/>
                    <a:pt x="1707" y="1328"/>
                  </a:cubicBezTo>
                  <a:cubicBezTo>
                    <a:pt x="1697" y="1351"/>
                    <a:pt x="1707" y="1376"/>
                    <a:pt x="1674" y="1378"/>
                  </a:cubicBezTo>
                  <a:cubicBezTo>
                    <a:pt x="1641" y="1381"/>
                    <a:pt x="1621" y="1390"/>
                    <a:pt x="1625" y="1429"/>
                  </a:cubicBezTo>
                  <a:cubicBezTo>
                    <a:pt x="1628" y="1467"/>
                    <a:pt x="1648" y="1492"/>
                    <a:pt x="1625" y="1523"/>
                  </a:cubicBezTo>
                  <a:cubicBezTo>
                    <a:pt x="1602" y="1554"/>
                    <a:pt x="1602" y="1565"/>
                    <a:pt x="1559" y="1562"/>
                  </a:cubicBezTo>
                  <a:cubicBezTo>
                    <a:pt x="1517" y="1559"/>
                    <a:pt x="1513" y="1590"/>
                    <a:pt x="1481" y="1593"/>
                  </a:cubicBezTo>
                  <a:cubicBezTo>
                    <a:pt x="1448" y="1595"/>
                    <a:pt x="1395" y="1581"/>
                    <a:pt x="1369" y="1595"/>
                  </a:cubicBezTo>
                  <a:cubicBezTo>
                    <a:pt x="1343" y="1609"/>
                    <a:pt x="1323" y="1623"/>
                    <a:pt x="1287" y="1623"/>
                  </a:cubicBezTo>
                  <a:cubicBezTo>
                    <a:pt x="1251" y="1623"/>
                    <a:pt x="1241" y="1626"/>
                    <a:pt x="1209" y="1643"/>
                  </a:cubicBezTo>
                  <a:cubicBezTo>
                    <a:pt x="1176" y="1659"/>
                    <a:pt x="1150" y="1676"/>
                    <a:pt x="1124" y="1701"/>
                  </a:cubicBezTo>
                  <a:cubicBezTo>
                    <a:pt x="1097" y="1726"/>
                    <a:pt x="1074" y="1734"/>
                    <a:pt x="1051" y="1715"/>
                  </a:cubicBezTo>
                  <a:cubicBezTo>
                    <a:pt x="1028" y="1695"/>
                    <a:pt x="933" y="1732"/>
                    <a:pt x="920" y="1704"/>
                  </a:cubicBezTo>
                  <a:cubicBezTo>
                    <a:pt x="907" y="1676"/>
                    <a:pt x="868" y="1640"/>
                    <a:pt x="835" y="1676"/>
                  </a:cubicBezTo>
                  <a:cubicBezTo>
                    <a:pt x="802" y="1712"/>
                    <a:pt x="776" y="1737"/>
                    <a:pt x="760" y="1768"/>
                  </a:cubicBezTo>
                  <a:cubicBezTo>
                    <a:pt x="743" y="1798"/>
                    <a:pt x="691" y="1840"/>
                    <a:pt x="671" y="1812"/>
                  </a:cubicBezTo>
                  <a:cubicBezTo>
                    <a:pt x="652" y="1784"/>
                    <a:pt x="658" y="1782"/>
                    <a:pt x="632" y="1787"/>
                  </a:cubicBezTo>
                  <a:cubicBezTo>
                    <a:pt x="606" y="1793"/>
                    <a:pt x="573" y="1826"/>
                    <a:pt x="563" y="1787"/>
                  </a:cubicBezTo>
                  <a:cubicBezTo>
                    <a:pt x="553" y="1748"/>
                    <a:pt x="563" y="1709"/>
                    <a:pt x="537" y="1706"/>
                  </a:cubicBezTo>
                  <a:cubicBezTo>
                    <a:pt x="511" y="1704"/>
                    <a:pt x="475" y="1757"/>
                    <a:pt x="455" y="1734"/>
                  </a:cubicBezTo>
                  <a:cubicBezTo>
                    <a:pt x="436" y="1712"/>
                    <a:pt x="380" y="1698"/>
                    <a:pt x="370" y="1723"/>
                  </a:cubicBezTo>
                  <a:cubicBezTo>
                    <a:pt x="360" y="1748"/>
                    <a:pt x="344" y="1754"/>
                    <a:pt x="321" y="1754"/>
                  </a:cubicBezTo>
                  <a:cubicBezTo>
                    <a:pt x="298" y="1754"/>
                    <a:pt x="301" y="1784"/>
                    <a:pt x="268" y="1782"/>
                  </a:cubicBezTo>
                  <a:cubicBezTo>
                    <a:pt x="236" y="1779"/>
                    <a:pt x="213" y="1743"/>
                    <a:pt x="180" y="1768"/>
                  </a:cubicBezTo>
                  <a:cubicBezTo>
                    <a:pt x="147" y="1793"/>
                    <a:pt x="128" y="1793"/>
                    <a:pt x="128" y="1837"/>
                  </a:cubicBezTo>
                  <a:cubicBezTo>
                    <a:pt x="128" y="1882"/>
                    <a:pt x="147" y="1890"/>
                    <a:pt x="101" y="1896"/>
                  </a:cubicBezTo>
                  <a:cubicBezTo>
                    <a:pt x="55" y="1901"/>
                    <a:pt x="39" y="1904"/>
                    <a:pt x="42" y="1934"/>
                  </a:cubicBezTo>
                  <a:cubicBezTo>
                    <a:pt x="46" y="1965"/>
                    <a:pt x="0" y="1965"/>
                    <a:pt x="33" y="1987"/>
                  </a:cubicBezTo>
                  <a:cubicBezTo>
                    <a:pt x="65" y="2009"/>
                    <a:pt x="75" y="2015"/>
                    <a:pt x="49" y="2037"/>
                  </a:cubicBezTo>
                  <a:cubicBezTo>
                    <a:pt x="23" y="2060"/>
                    <a:pt x="19" y="2068"/>
                    <a:pt x="23" y="2093"/>
                  </a:cubicBezTo>
                  <a:cubicBezTo>
                    <a:pt x="26" y="2118"/>
                    <a:pt x="49" y="2165"/>
                    <a:pt x="72" y="2146"/>
                  </a:cubicBezTo>
                  <a:cubicBezTo>
                    <a:pt x="95" y="2126"/>
                    <a:pt x="88" y="2115"/>
                    <a:pt x="141" y="2132"/>
                  </a:cubicBezTo>
                  <a:cubicBezTo>
                    <a:pt x="193" y="2148"/>
                    <a:pt x="219" y="2168"/>
                    <a:pt x="232" y="2199"/>
                  </a:cubicBezTo>
                  <a:cubicBezTo>
                    <a:pt x="245" y="2229"/>
                    <a:pt x="203" y="2226"/>
                    <a:pt x="206" y="2265"/>
                  </a:cubicBezTo>
                  <a:cubicBezTo>
                    <a:pt x="209" y="2304"/>
                    <a:pt x="242" y="2335"/>
                    <a:pt x="216" y="2357"/>
                  </a:cubicBezTo>
                  <a:cubicBezTo>
                    <a:pt x="190" y="2379"/>
                    <a:pt x="180" y="2379"/>
                    <a:pt x="190" y="2415"/>
                  </a:cubicBezTo>
                  <a:cubicBezTo>
                    <a:pt x="200" y="2451"/>
                    <a:pt x="229" y="2479"/>
                    <a:pt x="196" y="2496"/>
                  </a:cubicBezTo>
                  <a:cubicBezTo>
                    <a:pt x="164" y="2513"/>
                    <a:pt x="150" y="2527"/>
                    <a:pt x="128" y="2499"/>
                  </a:cubicBezTo>
                  <a:cubicBezTo>
                    <a:pt x="114" y="2482"/>
                    <a:pt x="113" y="2466"/>
                    <a:pt x="105" y="2454"/>
                  </a:cubicBezTo>
                  <a:cubicBezTo>
                    <a:pt x="92" y="2456"/>
                    <a:pt x="80" y="2456"/>
                    <a:pt x="73" y="2456"/>
                  </a:cubicBezTo>
                  <a:cubicBezTo>
                    <a:pt x="55" y="2456"/>
                    <a:pt x="63" y="2479"/>
                    <a:pt x="52" y="2498"/>
                  </a:cubicBezTo>
                  <a:cubicBezTo>
                    <a:pt x="47" y="2506"/>
                    <a:pt x="49" y="2522"/>
                    <a:pt x="53" y="2535"/>
                  </a:cubicBezTo>
                  <a:cubicBezTo>
                    <a:pt x="56" y="2536"/>
                    <a:pt x="59" y="2536"/>
                    <a:pt x="62" y="2536"/>
                  </a:cubicBezTo>
                  <a:cubicBezTo>
                    <a:pt x="93" y="2536"/>
                    <a:pt x="106" y="2547"/>
                    <a:pt x="141" y="2565"/>
                  </a:cubicBezTo>
                  <a:cubicBezTo>
                    <a:pt x="176" y="2584"/>
                    <a:pt x="176" y="2580"/>
                    <a:pt x="219" y="2595"/>
                  </a:cubicBezTo>
                  <a:cubicBezTo>
                    <a:pt x="263" y="2610"/>
                    <a:pt x="245" y="2654"/>
                    <a:pt x="272" y="2658"/>
                  </a:cubicBezTo>
                  <a:cubicBezTo>
                    <a:pt x="298" y="2662"/>
                    <a:pt x="307" y="2677"/>
                    <a:pt x="333" y="2721"/>
                  </a:cubicBezTo>
                  <a:cubicBezTo>
                    <a:pt x="359" y="2766"/>
                    <a:pt x="328" y="2784"/>
                    <a:pt x="307" y="2806"/>
                  </a:cubicBezTo>
                  <a:cubicBezTo>
                    <a:pt x="285" y="2829"/>
                    <a:pt x="302" y="2836"/>
                    <a:pt x="320" y="2862"/>
                  </a:cubicBezTo>
                  <a:cubicBezTo>
                    <a:pt x="337" y="2888"/>
                    <a:pt x="337" y="2914"/>
                    <a:pt x="377" y="2914"/>
                  </a:cubicBezTo>
                  <a:cubicBezTo>
                    <a:pt x="416" y="2914"/>
                    <a:pt x="407" y="2918"/>
                    <a:pt x="442" y="2962"/>
                  </a:cubicBezTo>
                  <a:cubicBezTo>
                    <a:pt x="477" y="3007"/>
                    <a:pt x="538" y="3025"/>
                    <a:pt x="582" y="3055"/>
                  </a:cubicBezTo>
                  <a:cubicBezTo>
                    <a:pt x="626" y="3084"/>
                    <a:pt x="669" y="3073"/>
                    <a:pt x="722" y="3073"/>
                  </a:cubicBezTo>
                  <a:cubicBezTo>
                    <a:pt x="774" y="3073"/>
                    <a:pt x="713" y="3129"/>
                    <a:pt x="717" y="3144"/>
                  </a:cubicBezTo>
                  <a:cubicBezTo>
                    <a:pt x="722" y="3158"/>
                    <a:pt x="730" y="3214"/>
                    <a:pt x="726" y="3255"/>
                  </a:cubicBezTo>
                  <a:cubicBezTo>
                    <a:pt x="722" y="3296"/>
                    <a:pt x="752" y="3310"/>
                    <a:pt x="774" y="3333"/>
                  </a:cubicBezTo>
                  <a:cubicBezTo>
                    <a:pt x="796" y="3355"/>
                    <a:pt x="822" y="3362"/>
                    <a:pt x="861" y="3385"/>
                  </a:cubicBezTo>
                  <a:cubicBezTo>
                    <a:pt x="870" y="3389"/>
                    <a:pt x="874" y="3394"/>
                    <a:pt x="875" y="3399"/>
                  </a:cubicBezTo>
                  <a:cubicBezTo>
                    <a:pt x="901" y="3404"/>
                    <a:pt x="929" y="3410"/>
                    <a:pt x="949" y="3418"/>
                  </a:cubicBezTo>
                  <a:cubicBezTo>
                    <a:pt x="992" y="3436"/>
                    <a:pt x="1027" y="3440"/>
                    <a:pt x="1054" y="3422"/>
                  </a:cubicBezTo>
                  <a:cubicBezTo>
                    <a:pt x="1080" y="3403"/>
                    <a:pt x="1075" y="3396"/>
                    <a:pt x="1084" y="3366"/>
                  </a:cubicBezTo>
                  <a:cubicBezTo>
                    <a:pt x="1093" y="3336"/>
                    <a:pt x="1145" y="3303"/>
                    <a:pt x="1180" y="3270"/>
                  </a:cubicBezTo>
                  <a:cubicBezTo>
                    <a:pt x="1215" y="3236"/>
                    <a:pt x="1198" y="3155"/>
                    <a:pt x="1241" y="3196"/>
                  </a:cubicBezTo>
                  <a:cubicBezTo>
                    <a:pt x="1285" y="3236"/>
                    <a:pt x="1290" y="3251"/>
                    <a:pt x="1324" y="3255"/>
                  </a:cubicBezTo>
                  <a:cubicBezTo>
                    <a:pt x="1359" y="3259"/>
                    <a:pt x="1438" y="3247"/>
                    <a:pt x="1460" y="3281"/>
                  </a:cubicBezTo>
                  <a:cubicBezTo>
                    <a:pt x="1482" y="3314"/>
                    <a:pt x="1504" y="3351"/>
                    <a:pt x="1547" y="3325"/>
                  </a:cubicBezTo>
                  <a:cubicBezTo>
                    <a:pt x="1591" y="3299"/>
                    <a:pt x="1604" y="3247"/>
                    <a:pt x="1648" y="3244"/>
                  </a:cubicBezTo>
                  <a:cubicBezTo>
                    <a:pt x="1691" y="3240"/>
                    <a:pt x="1691" y="3210"/>
                    <a:pt x="1713" y="3236"/>
                  </a:cubicBezTo>
                  <a:cubicBezTo>
                    <a:pt x="1735" y="3262"/>
                    <a:pt x="1718" y="3240"/>
                    <a:pt x="1779" y="3247"/>
                  </a:cubicBezTo>
                  <a:cubicBezTo>
                    <a:pt x="1840" y="3255"/>
                    <a:pt x="1875" y="3255"/>
                    <a:pt x="1901" y="3273"/>
                  </a:cubicBezTo>
                  <a:cubicBezTo>
                    <a:pt x="1927" y="3292"/>
                    <a:pt x="1923" y="3325"/>
                    <a:pt x="1975" y="3333"/>
                  </a:cubicBezTo>
                  <a:cubicBezTo>
                    <a:pt x="2028" y="3340"/>
                    <a:pt x="2041" y="3325"/>
                    <a:pt x="2063" y="3348"/>
                  </a:cubicBezTo>
                  <a:cubicBezTo>
                    <a:pt x="2085" y="3370"/>
                    <a:pt x="2111" y="3381"/>
                    <a:pt x="2150" y="3351"/>
                  </a:cubicBezTo>
                  <a:cubicBezTo>
                    <a:pt x="2189" y="3322"/>
                    <a:pt x="2202" y="3322"/>
                    <a:pt x="2255" y="3322"/>
                  </a:cubicBezTo>
                  <a:cubicBezTo>
                    <a:pt x="2307" y="3322"/>
                    <a:pt x="2316" y="3318"/>
                    <a:pt x="2355" y="3325"/>
                  </a:cubicBezTo>
                  <a:cubicBezTo>
                    <a:pt x="2395" y="3333"/>
                    <a:pt x="2412" y="3336"/>
                    <a:pt x="2460" y="3307"/>
                  </a:cubicBezTo>
                  <a:cubicBezTo>
                    <a:pt x="2508" y="3277"/>
                    <a:pt x="2543" y="3233"/>
                    <a:pt x="2604" y="3236"/>
                  </a:cubicBezTo>
                  <a:cubicBezTo>
                    <a:pt x="2665" y="3240"/>
                    <a:pt x="2783" y="3247"/>
                    <a:pt x="2823" y="3221"/>
                  </a:cubicBezTo>
                  <a:cubicBezTo>
                    <a:pt x="2862" y="3196"/>
                    <a:pt x="2862" y="3181"/>
                    <a:pt x="2932" y="3192"/>
                  </a:cubicBezTo>
                  <a:cubicBezTo>
                    <a:pt x="3002" y="3203"/>
                    <a:pt x="3146" y="3247"/>
                    <a:pt x="3194" y="3273"/>
                  </a:cubicBezTo>
                  <a:cubicBezTo>
                    <a:pt x="3242" y="3299"/>
                    <a:pt x="3255" y="3322"/>
                    <a:pt x="3303" y="3314"/>
                  </a:cubicBezTo>
                  <a:cubicBezTo>
                    <a:pt x="3351" y="3307"/>
                    <a:pt x="3377" y="3292"/>
                    <a:pt x="3430" y="3314"/>
                  </a:cubicBezTo>
                  <a:cubicBezTo>
                    <a:pt x="3482" y="3336"/>
                    <a:pt x="3491" y="3362"/>
                    <a:pt x="3583" y="3340"/>
                  </a:cubicBezTo>
                  <a:cubicBezTo>
                    <a:pt x="3675" y="3318"/>
                    <a:pt x="3618" y="3310"/>
                    <a:pt x="3657" y="3310"/>
                  </a:cubicBezTo>
                  <a:cubicBezTo>
                    <a:pt x="3696" y="3310"/>
                    <a:pt x="3723" y="3292"/>
                    <a:pt x="3661" y="3277"/>
                  </a:cubicBezTo>
                  <a:cubicBezTo>
                    <a:pt x="3600" y="3262"/>
                    <a:pt x="3574" y="3244"/>
                    <a:pt x="3609" y="3207"/>
                  </a:cubicBezTo>
                  <a:cubicBezTo>
                    <a:pt x="3644" y="3170"/>
                    <a:pt x="3640" y="3181"/>
                    <a:pt x="3683" y="3162"/>
                  </a:cubicBezTo>
                  <a:cubicBezTo>
                    <a:pt x="3727" y="3144"/>
                    <a:pt x="3705" y="3129"/>
                    <a:pt x="3718" y="3110"/>
                  </a:cubicBezTo>
                  <a:cubicBezTo>
                    <a:pt x="3731" y="3092"/>
                    <a:pt x="3766" y="3084"/>
                    <a:pt x="3740" y="3051"/>
                  </a:cubicBezTo>
                  <a:cubicBezTo>
                    <a:pt x="3714" y="3018"/>
                    <a:pt x="3648" y="3018"/>
                    <a:pt x="3640" y="2988"/>
                  </a:cubicBezTo>
                  <a:cubicBezTo>
                    <a:pt x="3631" y="2958"/>
                    <a:pt x="3548" y="2969"/>
                    <a:pt x="3548" y="2921"/>
                  </a:cubicBezTo>
                  <a:cubicBezTo>
                    <a:pt x="3548" y="2873"/>
                    <a:pt x="3522" y="2814"/>
                    <a:pt x="3570" y="2784"/>
                  </a:cubicBezTo>
                  <a:cubicBezTo>
                    <a:pt x="3618" y="2754"/>
                    <a:pt x="3631" y="2714"/>
                    <a:pt x="3701" y="2721"/>
                  </a:cubicBezTo>
                  <a:cubicBezTo>
                    <a:pt x="3771" y="2729"/>
                    <a:pt x="3784" y="2717"/>
                    <a:pt x="3867" y="2714"/>
                  </a:cubicBezTo>
                  <a:cubicBezTo>
                    <a:pt x="3950" y="2710"/>
                    <a:pt x="3950" y="2677"/>
                    <a:pt x="4011" y="2673"/>
                  </a:cubicBezTo>
                  <a:cubicBezTo>
                    <a:pt x="4072" y="2669"/>
                    <a:pt x="4081" y="2647"/>
                    <a:pt x="4129" y="2651"/>
                  </a:cubicBezTo>
                  <a:cubicBezTo>
                    <a:pt x="4177" y="2654"/>
                    <a:pt x="4216" y="2677"/>
                    <a:pt x="4238" y="2647"/>
                  </a:cubicBezTo>
                  <a:cubicBezTo>
                    <a:pt x="4260" y="2617"/>
                    <a:pt x="4260" y="2588"/>
                    <a:pt x="4295" y="2617"/>
                  </a:cubicBezTo>
                  <a:cubicBezTo>
                    <a:pt x="4315" y="2634"/>
                    <a:pt x="4346" y="2633"/>
                    <a:pt x="4380" y="2630"/>
                  </a:cubicBezTo>
                  <a:cubicBezTo>
                    <a:pt x="4351" y="2567"/>
                    <a:pt x="4325" y="2590"/>
                    <a:pt x="4343" y="2565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" name="Freeform 7"/>
            <p:cNvSpPr>
              <a:spLocks/>
            </p:cNvSpPr>
            <p:nvPr/>
          </p:nvSpPr>
          <p:spPr bwMode="auto">
            <a:xfrm>
              <a:off x="271" y="2094"/>
              <a:ext cx="2249" cy="1097"/>
            </a:xfrm>
            <a:custGeom>
              <a:avLst/>
              <a:gdLst>
                <a:gd name="T0" fmla="*/ 4405 w 4857"/>
                <a:gd name="T1" fmla="*/ 1256 h 2368"/>
                <a:gd name="T2" fmla="*/ 4222 w 4857"/>
                <a:gd name="T3" fmla="*/ 1404 h 2368"/>
                <a:gd name="T4" fmla="*/ 4032 w 4857"/>
                <a:gd name="T5" fmla="*/ 1381 h 2368"/>
                <a:gd name="T6" fmla="*/ 3838 w 4857"/>
                <a:gd name="T7" fmla="*/ 1190 h 2368"/>
                <a:gd name="T8" fmla="*/ 3484 w 4857"/>
                <a:gd name="T9" fmla="*/ 1142 h 2368"/>
                <a:gd name="T10" fmla="*/ 3239 w 4857"/>
                <a:gd name="T11" fmla="*/ 1084 h 2368"/>
                <a:gd name="T12" fmla="*/ 2996 w 4857"/>
                <a:gd name="T13" fmla="*/ 984 h 2368"/>
                <a:gd name="T14" fmla="*/ 2787 w 4857"/>
                <a:gd name="T15" fmla="*/ 856 h 2368"/>
                <a:gd name="T16" fmla="*/ 2665 w 4857"/>
                <a:gd name="T17" fmla="*/ 620 h 2368"/>
                <a:gd name="T18" fmla="*/ 2737 w 4857"/>
                <a:gd name="T19" fmla="*/ 514 h 2368"/>
                <a:gd name="T20" fmla="*/ 2764 w 4857"/>
                <a:gd name="T21" fmla="*/ 339 h 2368"/>
                <a:gd name="T22" fmla="*/ 2718 w 4857"/>
                <a:gd name="T23" fmla="*/ 225 h 2368"/>
                <a:gd name="T24" fmla="*/ 2699 w 4857"/>
                <a:gd name="T25" fmla="*/ 159 h 2368"/>
                <a:gd name="T26" fmla="*/ 2219 w 4857"/>
                <a:gd name="T27" fmla="*/ 66 h 2368"/>
                <a:gd name="T28" fmla="*/ 1751 w 4857"/>
                <a:gd name="T29" fmla="*/ 170 h 2368"/>
                <a:gd name="T30" fmla="*/ 1459 w 4857"/>
                <a:gd name="T31" fmla="*/ 193 h 2368"/>
                <a:gd name="T32" fmla="*/ 1175 w 4857"/>
                <a:gd name="T33" fmla="*/ 92 h 2368"/>
                <a:gd name="T34" fmla="*/ 943 w 4857"/>
                <a:gd name="T35" fmla="*/ 170 h 2368"/>
                <a:gd name="T36" fmla="*/ 637 w 4857"/>
                <a:gd name="T37" fmla="*/ 41 h 2368"/>
                <a:gd name="T38" fmla="*/ 450 w 4857"/>
                <a:gd name="T39" fmla="*/ 267 h 2368"/>
                <a:gd name="T40" fmla="*/ 201 w 4857"/>
                <a:gd name="T41" fmla="*/ 304 h 2368"/>
                <a:gd name="T42" fmla="*/ 205 w 4857"/>
                <a:gd name="T43" fmla="*/ 493 h 2368"/>
                <a:gd name="T44" fmla="*/ 275 w 4857"/>
                <a:gd name="T45" fmla="*/ 689 h 2368"/>
                <a:gd name="T46" fmla="*/ 96 w 4857"/>
                <a:gd name="T47" fmla="*/ 678 h 2368"/>
                <a:gd name="T48" fmla="*/ 52 w 4857"/>
                <a:gd name="T49" fmla="*/ 837 h 2368"/>
                <a:gd name="T50" fmla="*/ 78 w 4857"/>
                <a:gd name="T51" fmla="*/ 975 h 2368"/>
                <a:gd name="T52" fmla="*/ 205 w 4857"/>
                <a:gd name="T53" fmla="*/ 1097 h 2368"/>
                <a:gd name="T54" fmla="*/ 406 w 4857"/>
                <a:gd name="T55" fmla="*/ 1275 h 2368"/>
                <a:gd name="T56" fmla="*/ 550 w 4857"/>
                <a:gd name="T57" fmla="*/ 1379 h 2368"/>
                <a:gd name="T58" fmla="*/ 768 w 4857"/>
                <a:gd name="T59" fmla="*/ 1445 h 2368"/>
                <a:gd name="T60" fmla="*/ 1039 w 4857"/>
                <a:gd name="T61" fmla="*/ 1731 h 2368"/>
                <a:gd name="T62" fmla="*/ 1175 w 4857"/>
                <a:gd name="T63" fmla="*/ 1809 h 2368"/>
                <a:gd name="T64" fmla="*/ 1380 w 4857"/>
                <a:gd name="T65" fmla="*/ 1923 h 2368"/>
                <a:gd name="T66" fmla="*/ 1511 w 4857"/>
                <a:gd name="T67" fmla="*/ 2012 h 2368"/>
                <a:gd name="T68" fmla="*/ 1651 w 4857"/>
                <a:gd name="T69" fmla="*/ 2105 h 2368"/>
                <a:gd name="T70" fmla="*/ 1856 w 4857"/>
                <a:gd name="T71" fmla="*/ 2164 h 2368"/>
                <a:gd name="T72" fmla="*/ 2131 w 4857"/>
                <a:gd name="T73" fmla="*/ 2172 h 2368"/>
                <a:gd name="T74" fmla="*/ 2245 w 4857"/>
                <a:gd name="T75" fmla="*/ 2316 h 2368"/>
                <a:gd name="T76" fmla="*/ 2586 w 4857"/>
                <a:gd name="T77" fmla="*/ 2127 h 2368"/>
                <a:gd name="T78" fmla="*/ 2795 w 4857"/>
                <a:gd name="T79" fmla="*/ 2227 h 2368"/>
                <a:gd name="T80" fmla="*/ 2983 w 4857"/>
                <a:gd name="T81" fmla="*/ 2309 h 2368"/>
                <a:gd name="T82" fmla="*/ 3241 w 4857"/>
                <a:gd name="T83" fmla="*/ 2268 h 2368"/>
                <a:gd name="T84" fmla="*/ 3538 w 4857"/>
                <a:gd name="T85" fmla="*/ 2101 h 2368"/>
                <a:gd name="T86" fmla="*/ 3914 w 4857"/>
                <a:gd name="T87" fmla="*/ 2057 h 2368"/>
                <a:gd name="T88" fmla="*/ 4154 w 4857"/>
                <a:gd name="T89" fmla="*/ 2001 h 2368"/>
                <a:gd name="T90" fmla="*/ 4211 w 4857"/>
                <a:gd name="T91" fmla="*/ 2094 h 2368"/>
                <a:gd name="T92" fmla="*/ 4246 w 4857"/>
                <a:gd name="T93" fmla="*/ 2220 h 2368"/>
                <a:gd name="T94" fmla="*/ 4447 w 4857"/>
                <a:gd name="T95" fmla="*/ 2220 h 2368"/>
                <a:gd name="T96" fmla="*/ 4594 w 4857"/>
                <a:gd name="T97" fmla="*/ 2315 h 2368"/>
                <a:gd name="T98" fmla="*/ 4722 w 4857"/>
                <a:gd name="T99" fmla="*/ 2268 h 2368"/>
                <a:gd name="T100" fmla="*/ 4770 w 4857"/>
                <a:gd name="T101" fmla="*/ 2072 h 2368"/>
                <a:gd name="T102" fmla="*/ 4822 w 4857"/>
                <a:gd name="T103" fmla="*/ 1820 h 2368"/>
                <a:gd name="T104" fmla="*/ 4730 w 4857"/>
                <a:gd name="T105" fmla="*/ 1564 h 2368"/>
                <a:gd name="T106" fmla="*/ 4704 w 4857"/>
                <a:gd name="T107" fmla="*/ 1367 h 2368"/>
                <a:gd name="T108" fmla="*/ 4481 w 4857"/>
                <a:gd name="T109" fmla="*/ 1186 h 2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857" h="2368">
                  <a:moveTo>
                    <a:pt x="4418" y="1148"/>
                  </a:moveTo>
                  <a:cubicBezTo>
                    <a:pt x="4385" y="1153"/>
                    <a:pt x="4402" y="1187"/>
                    <a:pt x="4415" y="1198"/>
                  </a:cubicBezTo>
                  <a:cubicBezTo>
                    <a:pt x="4428" y="1209"/>
                    <a:pt x="4418" y="1226"/>
                    <a:pt x="4405" y="1256"/>
                  </a:cubicBezTo>
                  <a:cubicBezTo>
                    <a:pt x="4392" y="1287"/>
                    <a:pt x="4392" y="1306"/>
                    <a:pt x="4366" y="1323"/>
                  </a:cubicBezTo>
                  <a:cubicBezTo>
                    <a:pt x="4339" y="1340"/>
                    <a:pt x="4343" y="1340"/>
                    <a:pt x="4303" y="1395"/>
                  </a:cubicBezTo>
                  <a:cubicBezTo>
                    <a:pt x="4264" y="1451"/>
                    <a:pt x="4244" y="1417"/>
                    <a:pt x="4222" y="1404"/>
                  </a:cubicBezTo>
                  <a:cubicBezTo>
                    <a:pt x="4199" y="1390"/>
                    <a:pt x="4199" y="1387"/>
                    <a:pt x="4166" y="1409"/>
                  </a:cubicBezTo>
                  <a:cubicBezTo>
                    <a:pt x="4133" y="1431"/>
                    <a:pt x="4127" y="1420"/>
                    <a:pt x="4104" y="1404"/>
                  </a:cubicBezTo>
                  <a:cubicBezTo>
                    <a:pt x="4081" y="1387"/>
                    <a:pt x="4068" y="1384"/>
                    <a:pt x="4032" y="1381"/>
                  </a:cubicBezTo>
                  <a:cubicBezTo>
                    <a:pt x="3995" y="1379"/>
                    <a:pt x="4012" y="1359"/>
                    <a:pt x="4002" y="1315"/>
                  </a:cubicBezTo>
                  <a:cubicBezTo>
                    <a:pt x="3992" y="1270"/>
                    <a:pt x="3943" y="1276"/>
                    <a:pt x="3920" y="1262"/>
                  </a:cubicBezTo>
                  <a:cubicBezTo>
                    <a:pt x="3897" y="1248"/>
                    <a:pt x="3881" y="1226"/>
                    <a:pt x="3838" y="1190"/>
                  </a:cubicBezTo>
                  <a:cubicBezTo>
                    <a:pt x="3796" y="1153"/>
                    <a:pt x="3740" y="1173"/>
                    <a:pt x="3701" y="1165"/>
                  </a:cubicBezTo>
                  <a:cubicBezTo>
                    <a:pt x="3661" y="1156"/>
                    <a:pt x="3648" y="1153"/>
                    <a:pt x="3609" y="1156"/>
                  </a:cubicBezTo>
                  <a:cubicBezTo>
                    <a:pt x="3570" y="1159"/>
                    <a:pt x="3537" y="1151"/>
                    <a:pt x="3484" y="1142"/>
                  </a:cubicBezTo>
                  <a:cubicBezTo>
                    <a:pt x="3432" y="1134"/>
                    <a:pt x="3435" y="1139"/>
                    <a:pt x="3393" y="1106"/>
                  </a:cubicBezTo>
                  <a:cubicBezTo>
                    <a:pt x="3350" y="1073"/>
                    <a:pt x="3344" y="1109"/>
                    <a:pt x="3301" y="1120"/>
                  </a:cubicBezTo>
                  <a:cubicBezTo>
                    <a:pt x="3258" y="1131"/>
                    <a:pt x="3258" y="1106"/>
                    <a:pt x="3239" y="1084"/>
                  </a:cubicBezTo>
                  <a:cubicBezTo>
                    <a:pt x="3219" y="1062"/>
                    <a:pt x="3193" y="1053"/>
                    <a:pt x="3173" y="1031"/>
                  </a:cubicBezTo>
                  <a:cubicBezTo>
                    <a:pt x="3154" y="1009"/>
                    <a:pt x="3111" y="1020"/>
                    <a:pt x="3078" y="1012"/>
                  </a:cubicBezTo>
                  <a:cubicBezTo>
                    <a:pt x="3045" y="1003"/>
                    <a:pt x="3016" y="1003"/>
                    <a:pt x="2996" y="984"/>
                  </a:cubicBezTo>
                  <a:cubicBezTo>
                    <a:pt x="2977" y="964"/>
                    <a:pt x="2914" y="975"/>
                    <a:pt x="2862" y="967"/>
                  </a:cubicBezTo>
                  <a:cubicBezTo>
                    <a:pt x="2810" y="959"/>
                    <a:pt x="2819" y="934"/>
                    <a:pt x="2816" y="906"/>
                  </a:cubicBezTo>
                  <a:cubicBezTo>
                    <a:pt x="2813" y="878"/>
                    <a:pt x="2806" y="875"/>
                    <a:pt x="2787" y="856"/>
                  </a:cubicBezTo>
                  <a:cubicBezTo>
                    <a:pt x="2767" y="836"/>
                    <a:pt x="2754" y="800"/>
                    <a:pt x="2747" y="773"/>
                  </a:cubicBezTo>
                  <a:cubicBezTo>
                    <a:pt x="2741" y="745"/>
                    <a:pt x="2711" y="709"/>
                    <a:pt x="2678" y="684"/>
                  </a:cubicBezTo>
                  <a:cubicBezTo>
                    <a:pt x="2646" y="659"/>
                    <a:pt x="2662" y="645"/>
                    <a:pt x="2665" y="620"/>
                  </a:cubicBezTo>
                  <a:cubicBezTo>
                    <a:pt x="2669" y="595"/>
                    <a:pt x="2656" y="564"/>
                    <a:pt x="2656" y="542"/>
                  </a:cubicBezTo>
                  <a:cubicBezTo>
                    <a:pt x="2656" y="520"/>
                    <a:pt x="2685" y="525"/>
                    <a:pt x="2708" y="533"/>
                  </a:cubicBezTo>
                  <a:cubicBezTo>
                    <a:pt x="2731" y="542"/>
                    <a:pt x="2737" y="531"/>
                    <a:pt x="2737" y="514"/>
                  </a:cubicBezTo>
                  <a:cubicBezTo>
                    <a:pt x="2737" y="497"/>
                    <a:pt x="2734" y="481"/>
                    <a:pt x="2721" y="456"/>
                  </a:cubicBezTo>
                  <a:cubicBezTo>
                    <a:pt x="2708" y="431"/>
                    <a:pt x="2734" y="420"/>
                    <a:pt x="2751" y="389"/>
                  </a:cubicBezTo>
                  <a:cubicBezTo>
                    <a:pt x="2767" y="358"/>
                    <a:pt x="2741" y="358"/>
                    <a:pt x="2764" y="339"/>
                  </a:cubicBezTo>
                  <a:cubicBezTo>
                    <a:pt x="2787" y="319"/>
                    <a:pt x="2793" y="303"/>
                    <a:pt x="2793" y="283"/>
                  </a:cubicBezTo>
                  <a:cubicBezTo>
                    <a:pt x="2793" y="264"/>
                    <a:pt x="2783" y="256"/>
                    <a:pt x="2760" y="247"/>
                  </a:cubicBezTo>
                  <a:cubicBezTo>
                    <a:pt x="2737" y="239"/>
                    <a:pt x="2728" y="247"/>
                    <a:pt x="2718" y="225"/>
                  </a:cubicBezTo>
                  <a:cubicBezTo>
                    <a:pt x="2708" y="203"/>
                    <a:pt x="2767" y="214"/>
                    <a:pt x="2787" y="186"/>
                  </a:cubicBezTo>
                  <a:cubicBezTo>
                    <a:pt x="2794" y="176"/>
                    <a:pt x="2794" y="162"/>
                    <a:pt x="2792" y="149"/>
                  </a:cubicBezTo>
                  <a:cubicBezTo>
                    <a:pt x="2760" y="144"/>
                    <a:pt x="2736" y="154"/>
                    <a:pt x="2699" y="159"/>
                  </a:cubicBezTo>
                  <a:cubicBezTo>
                    <a:pt x="2651" y="167"/>
                    <a:pt x="2638" y="144"/>
                    <a:pt x="2590" y="118"/>
                  </a:cubicBezTo>
                  <a:cubicBezTo>
                    <a:pt x="2542" y="92"/>
                    <a:pt x="2398" y="48"/>
                    <a:pt x="2328" y="37"/>
                  </a:cubicBezTo>
                  <a:cubicBezTo>
                    <a:pt x="2258" y="26"/>
                    <a:pt x="2258" y="41"/>
                    <a:pt x="2219" y="66"/>
                  </a:cubicBezTo>
                  <a:cubicBezTo>
                    <a:pt x="2179" y="92"/>
                    <a:pt x="2061" y="85"/>
                    <a:pt x="2000" y="81"/>
                  </a:cubicBezTo>
                  <a:cubicBezTo>
                    <a:pt x="1939" y="78"/>
                    <a:pt x="1904" y="122"/>
                    <a:pt x="1856" y="152"/>
                  </a:cubicBezTo>
                  <a:cubicBezTo>
                    <a:pt x="1808" y="181"/>
                    <a:pt x="1791" y="178"/>
                    <a:pt x="1751" y="170"/>
                  </a:cubicBezTo>
                  <a:cubicBezTo>
                    <a:pt x="1712" y="163"/>
                    <a:pt x="1703" y="167"/>
                    <a:pt x="1651" y="167"/>
                  </a:cubicBezTo>
                  <a:cubicBezTo>
                    <a:pt x="1598" y="167"/>
                    <a:pt x="1585" y="167"/>
                    <a:pt x="1546" y="196"/>
                  </a:cubicBezTo>
                  <a:cubicBezTo>
                    <a:pt x="1507" y="226"/>
                    <a:pt x="1481" y="215"/>
                    <a:pt x="1459" y="193"/>
                  </a:cubicBezTo>
                  <a:cubicBezTo>
                    <a:pt x="1437" y="170"/>
                    <a:pt x="1424" y="185"/>
                    <a:pt x="1371" y="178"/>
                  </a:cubicBezTo>
                  <a:cubicBezTo>
                    <a:pt x="1319" y="170"/>
                    <a:pt x="1323" y="137"/>
                    <a:pt x="1297" y="118"/>
                  </a:cubicBezTo>
                  <a:cubicBezTo>
                    <a:pt x="1271" y="100"/>
                    <a:pt x="1236" y="100"/>
                    <a:pt x="1175" y="92"/>
                  </a:cubicBezTo>
                  <a:cubicBezTo>
                    <a:pt x="1114" y="85"/>
                    <a:pt x="1131" y="107"/>
                    <a:pt x="1109" y="81"/>
                  </a:cubicBezTo>
                  <a:cubicBezTo>
                    <a:pt x="1087" y="55"/>
                    <a:pt x="1087" y="85"/>
                    <a:pt x="1044" y="89"/>
                  </a:cubicBezTo>
                  <a:cubicBezTo>
                    <a:pt x="1000" y="92"/>
                    <a:pt x="987" y="144"/>
                    <a:pt x="943" y="170"/>
                  </a:cubicBezTo>
                  <a:cubicBezTo>
                    <a:pt x="900" y="196"/>
                    <a:pt x="878" y="159"/>
                    <a:pt x="856" y="126"/>
                  </a:cubicBezTo>
                  <a:cubicBezTo>
                    <a:pt x="834" y="92"/>
                    <a:pt x="755" y="104"/>
                    <a:pt x="720" y="100"/>
                  </a:cubicBezTo>
                  <a:cubicBezTo>
                    <a:pt x="686" y="96"/>
                    <a:pt x="681" y="81"/>
                    <a:pt x="637" y="41"/>
                  </a:cubicBezTo>
                  <a:cubicBezTo>
                    <a:pt x="594" y="0"/>
                    <a:pt x="611" y="81"/>
                    <a:pt x="576" y="115"/>
                  </a:cubicBezTo>
                  <a:cubicBezTo>
                    <a:pt x="541" y="148"/>
                    <a:pt x="489" y="181"/>
                    <a:pt x="480" y="211"/>
                  </a:cubicBezTo>
                  <a:cubicBezTo>
                    <a:pt x="471" y="241"/>
                    <a:pt x="476" y="248"/>
                    <a:pt x="450" y="267"/>
                  </a:cubicBezTo>
                  <a:cubicBezTo>
                    <a:pt x="423" y="285"/>
                    <a:pt x="388" y="281"/>
                    <a:pt x="345" y="263"/>
                  </a:cubicBezTo>
                  <a:cubicBezTo>
                    <a:pt x="325" y="255"/>
                    <a:pt x="297" y="249"/>
                    <a:pt x="271" y="244"/>
                  </a:cubicBezTo>
                  <a:cubicBezTo>
                    <a:pt x="276" y="263"/>
                    <a:pt x="238" y="283"/>
                    <a:pt x="201" y="304"/>
                  </a:cubicBezTo>
                  <a:cubicBezTo>
                    <a:pt x="153" y="330"/>
                    <a:pt x="214" y="352"/>
                    <a:pt x="236" y="374"/>
                  </a:cubicBezTo>
                  <a:cubicBezTo>
                    <a:pt x="257" y="396"/>
                    <a:pt x="236" y="411"/>
                    <a:pt x="201" y="422"/>
                  </a:cubicBezTo>
                  <a:cubicBezTo>
                    <a:pt x="166" y="433"/>
                    <a:pt x="170" y="467"/>
                    <a:pt x="205" y="493"/>
                  </a:cubicBezTo>
                  <a:cubicBezTo>
                    <a:pt x="240" y="519"/>
                    <a:pt x="231" y="530"/>
                    <a:pt x="262" y="545"/>
                  </a:cubicBezTo>
                  <a:cubicBezTo>
                    <a:pt x="292" y="559"/>
                    <a:pt x="284" y="578"/>
                    <a:pt x="262" y="597"/>
                  </a:cubicBezTo>
                  <a:cubicBezTo>
                    <a:pt x="240" y="615"/>
                    <a:pt x="275" y="641"/>
                    <a:pt x="275" y="689"/>
                  </a:cubicBezTo>
                  <a:cubicBezTo>
                    <a:pt x="275" y="737"/>
                    <a:pt x="227" y="715"/>
                    <a:pt x="205" y="708"/>
                  </a:cubicBezTo>
                  <a:cubicBezTo>
                    <a:pt x="183" y="700"/>
                    <a:pt x="174" y="723"/>
                    <a:pt x="144" y="730"/>
                  </a:cubicBezTo>
                  <a:cubicBezTo>
                    <a:pt x="113" y="737"/>
                    <a:pt x="105" y="708"/>
                    <a:pt x="96" y="678"/>
                  </a:cubicBezTo>
                  <a:cubicBezTo>
                    <a:pt x="87" y="648"/>
                    <a:pt x="43" y="652"/>
                    <a:pt x="22" y="671"/>
                  </a:cubicBezTo>
                  <a:cubicBezTo>
                    <a:pt x="0" y="689"/>
                    <a:pt x="13" y="730"/>
                    <a:pt x="26" y="756"/>
                  </a:cubicBezTo>
                  <a:cubicBezTo>
                    <a:pt x="39" y="782"/>
                    <a:pt x="65" y="811"/>
                    <a:pt x="52" y="837"/>
                  </a:cubicBezTo>
                  <a:cubicBezTo>
                    <a:pt x="39" y="863"/>
                    <a:pt x="30" y="867"/>
                    <a:pt x="52" y="900"/>
                  </a:cubicBezTo>
                  <a:cubicBezTo>
                    <a:pt x="74" y="934"/>
                    <a:pt x="35" y="938"/>
                    <a:pt x="39" y="960"/>
                  </a:cubicBezTo>
                  <a:cubicBezTo>
                    <a:pt x="43" y="982"/>
                    <a:pt x="70" y="989"/>
                    <a:pt x="78" y="975"/>
                  </a:cubicBezTo>
                  <a:cubicBezTo>
                    <a:pt x="87" y="960"/>
                    <a:pt x="109" y="967"/>
                    <a:pt x="122" y="978"/>
                  </a:cubicBezTo>
                  <a:cubicBezTo>
                    <a:pt x="135" y="989"/>
                    <a:pt x="148" y="1049"/>
                    <a:pt x="153" y="1071"/>
                  </a:cubicBezTo>
                  <a:cubicBezTo>
                    <a:pt x="157" y="1093"/>
                    <a:pt x="188" y="1112"/>
                    <a:pt x="205" y="1097"/>
                  </a:cubicBezTo>
                  <a:cubicBezTo>
                    <a:pt x="222" y="1082"/>
                    <a:pt x="244" y="1112"/>
                    <a:pt x="266" y="1138"/>
                  </a:cubicBezTo>
                  <a:cubicBezTo>
                    <a:pt x="288" y="1164"/>
                    <a:pt x="327" y="1201"/>
                    <a:pt x="340" y="1230"/>
                  </a:cubicBezTo>
                  <a:cubicBezTo>
                    <a:pt x="354" y="1260"/>
                    <a:pt x="406" y="1264"/>
                    <a:pt x="406" y="1275"/>
                  </a:cubicBezTo>
                  <a:cubicBezTo>
                    <a:pt x="406" y="1286"/>
                    <a:pt x="445" y="1304"/>
                    <a:pt x="467" y="1327"/>
                  </a:cubicBezTo>
                  <a:cubicBezTo>
                    <a:pt x="489" y="1349"/>
                    <a:pt x="493" y="1342"/>
                    <a:pt x="493" y="1390"/>
                  </a:cubicBezTo>
                  <a:cubicBezTo>
                    <a:pt x="493" y="1438"/>
                    <a:pt x="541" y="1397"/>
                    <a:pt x="550" y="1379"/>
                  </a:cubicBezTo>
                  <a:cubicBezTo>
                    <a:pt x="559" y="1360"/>
                    <a:pt x="611" y="1345"/>
                    <a:pt x="637" y="1319"/>
                  </a:cubicBezTo>
                  <a:cubicBezTo>
                    <a:pt x="664" y="1293"/>
                    <a:pt x="672" y="1356"/>
                    <a:pt x="694" y="1390"/>
                  </a:cubicBezTo>
                  <a:cubicBezTo>
                    <a:pt x="716" y="1423"/>
                    <a:pt x="729" y="1397"/>
                    <a:pt x="768" y="1445"/>
                  </a:cubicBezTo>
                  <a:cubicBezTo>
                    <a:pt x="808" y="1493"/>
                    <a:pt x="812" y="1464"/>
                    <a:pt x="856" y="1505"/>
                  </a:cubicBezTo>
                  <a:cubicBezTo>
                    <a:pt x="900" y="1545"/>
                    <a:pt x="939" y="1564"/>
                    <a:pt x="974" y="1582"/>
                  </a:cubicBezTo>
                  <a:cubicBezTo>
                    <a:pt x="1009" y="1601"/>
                    <a:pt x="1017" y="1694"/>
                    <a:pt x="1039" y="1731"/>
                  </a:cubicBezTo>
                  <a:cubicBezTo>
                    <a:pt x="1061" y="1768"/>
                    <a:pt x="1109" y="1723"/>
                    <a:pt x="1135" y="1690"/>
                  </a:cubicBezTo>
                  <a:cubicBezTo>
                    <a:pt x="1162" y="1657"/>
                    <a:pt x="1170" y="1712"/>
                    <a:pt x="1170" y="1723"/>
                  </a:cubicBezTo>
                  <a:cubicBezTo>
                    <a:pt x="1170" y="1734"/>
                    <a:pt x="1175" y="1783"/>
                    <a:pt x="1175" y="1809"/>
                  </a:cubicBezTo>
                  <a:cubicBezTo>
                    <a:pt x="1175" y="1834"/>
                    <a:pt x="1236" y="1849"/>
                    <a:pt x="1271" y="1860"/>
                  </a:cubicBezTo>
                  <a:cubicBezTo>
                    <a:pt x="1306" y="1872"/>
                    <a:pt x="1310" y="1905"/>
                    <a:pt x="1358" y="1901"/>
                  </a:cubicBezTo>
                  <a:cubicBezTo>
                    <a:pt x="1406" y="1897"/>
                    <a:pt x="1389" y="1912"/>
                    <a:pt x="1380" y="1923"/>
                  </a:cubicBezTo>
                  <a:cubicBezTo>
                    <a:pt x="1371" y="1935"/>
                    <a:pt x="1398" y="1957"/>
                    <a:pt x="1398" y="1972"/>
                  </a:cubicBezTo>
                  <a:cubicBezTo>
                    <a:pt x="1398" y="1986"/>
                    <a:pt x="1441" y="2001"/>
                    <a:pt x="1459" y="1990"/>
                  </a:cubicBezTo>
                  <a:cubicBezTo>
                    <a:pt x="1476" y="1979"/>
                    <a:pt x="1494" y="1998"/>
                    <a:pt x="1511" y="2012"/>
                  </a:cubicBezTo>
                  <a:cubicBezTo>
                    <a:pt x="1529" y="2027"/>
                    <a:pt x="1559" y="2023"/>
                    <a:pt x="1555" y="2061"/>
                  </a:cubicBezTo>
                  <a:cubicBezTo>
                    <a:pt x="1594" y="2142"/>
                    <a:pt x="1598" y="2094"/>
                    <a:pt x="1612" y="2072"/>
                  </a:cubicBezTo>
                  <a:cubicBezTo>
                    <a:pt x="1625" y="2049"/>
                    <a:pt x="1633" y="2075"/>
                    <a:pt x="1651" y="2105"/>
                  </a:cubicBezTo>
                  <a:cubicBezTo>
                    <a:pt x="1668" y="2135"/>
                    <a:pt x="1725" y="2094"/>
                    <a:pt x="1747" y="2079"/>
                  </a:cubicBezTo>
                  <a:cubicBezTo>
                    <a:pt x="1769" y="2064"/>
                    <a:pt x="1782" y="2101"/>
                    <a:pt x="1786" y="2116"/>
                  </a:cubicBezTo>
                  <a:cubicBezTo>
                    <a:pt x="1791" y="2131"/>
                    <a:pt x="1843" y="2142"/>
                    <a:pt x="1856" y="2164"/>
                  </a:cubicBezTo>
                  <a:cubicBezTo>
                    <a:pt x="1869" y="2187"/>
                    <a:pt x="1895" y="2187"/>
                    <a:pt x="1948" y="2172"/>
                  </a:cubicBezTo>
                  <a:cubicBezTo>
                    <a:pt x="2000" y="2157"/>
                    <a:pt x="1992" y="2190"/>
                    <a:pt x="2040" y="2194"/>
                  </a:cubicBezTo>
                  <a:cubicBezTo>
                    <a:pt x="2088" y="2198"/>
                    <a:pt x="2079" y="2172"/>
                    <a:pt x="2131" y="2172"/>
                  </a:cubicBezTo>
                  <a:cubicBezTo>
                    <a:pt x="2184" y="2172"/>
                    <a:pt x="2179" y="2172"/>
                    <a:pt x="2214" y="2146"/>
                  </a:cubicBezTo>
                  <a:cubicBezTo>
                    <a:pt x="2249" y="2120"/>
                    <a:pt x="2267" y="2168"/>
                    <a:pt x="2284" y="2205"/>
                  </a:cubicBezTo>
                  <a:cubicBezTo>
                    <a:pt x="2302" y="2242"/>
                    <a:pt x="2241" y="2264"/>
                    <a:pt x="2245" y="2316"/>
                  </a:cubicBezTo>
                  <a:cubicBezTo>
                    <a:pt x="2249" y="2368"/>
                    <a:pt x="2337" y="2283"/>
                    <a:pt x="2350" y="2264"/>
                  </a:cubicBezTo>
                  <a:cubicBezTo>
                    <a:pt x="2363" y="2246"/>
                    <a:pt x="2420" y="2194"/>
                    <a:pt x="2446" y="2164"/>
                  </a:cubicBezTo>
                  <a:cubicBezTo>
                    <a:pt x="2472" y="2135"/>
                    <a:pt x="2542" y="2142"/>
                    <a:pt x="2586" y="2127"/>
                  </a:cubicBezTo>
                  <a:cubicBezTo>
                    <a:pt x="2629" y="2112"/>
                    <a:pt x="2647" y="2153"/>
                    <a:pt x="2660" y="2175"/>
                  </a:cubicBezTo>
                  <a:cubicBezTo>
                    <a:pt x="2673" y="2198"/>
                    <a:pt x="2664" y="2198"/>
                    <a:pt x="2704" y="2198"/>
                  </a:cubicBezTo>
                  <a:cubicBezTo>
                    <a:pt x="2743" y="2198"/>
                    <a:pt x="2773" y="2205"/>
                    <a:pt x="2795" y="2227"/>
                  </a:cubicBezTo>
                  <a:cubicBezTo>
                    <a:pt x="2817" y="2250"/>
                    <a:pt x="2861" y="2246"/>
                    <a:pt x="2874" y="2224"/>
                  </a:cubicBezTo>
                  <a:cubicBezTo>
                    <a:pt x="2887" y="2201"/>
                    <a:pt x="2922" y="2227"/>
                    <a:pt x="2966" y="2253"/>
                  </a:cubicBezTo>
                  <a:cubicBezTo>
                    <a:pt x="3009" y="2279"/>
                    <a:pt x="2974" y="2287"/>
                    <a:pt x="2983" y="2309"/>
                  </a:cubicBezTo>
                  <a:cubicBezTo>
                    <a:pt x="2992" y="2331"/>
                    <a:pt x="3057" y="2339"/>
                    <a:pt x="3071" y="2316"/>
                  </a:cubicBezTo>
                  <a:cubicBezTo>
                    <a:pt x="3084" y="2294"/>
                    <a:pt x="3114" y="2305"/>
                    <a:pt x="3140" y="2320"/>
                  </a:cubicBezTo>
                  <a:cubicBezTo>
                    <a:pt x="3167" y="2335"/>
                    <a:pt x="3223" y="2305"/>
                    <a:pt x="3241" y="2268"/>
                  </a:cubicBezTo>
                  <a:cubicBezTo>
                    <a:pt x="3258" y="2231"/>
                    <a:pt x="3237" y="2227"/>
                    <a:pt x="3285" y="2220"/>
                  </a:cubicBezTo>
                  <a:cubicBezTo>
                    <a:pt x="3333" y="2213"/>
                    <a:pt x="3341" y="2179"/>
                    <a:pt x="3376" y="2138"/>
                  </a:cubicBezTo>
                  <a:cubicBezTo>
                    <a:pt x="3411" y="2098"/>
                    <a:pt x="3481" y="2112"/>
                    <a:pt x="3538" y="2101"/>
                  </a:cubicBezTo>
                  <a:cubicBezTo>
                    <a:pt x="3595" y="2090"/>
                    <a:pt x="3630" y="2038"/>
                    <a:pt x="3700" y="1990"/>
                  </a:cubicBezTo>
                  <a:cubicBezTo>
                    <a:pt x="3769" y="1942"/>
                    <a:pt x="3796" y="2005"/>
                    <a:pt x="3813" y="2016"/>
                  </a:cubicBezTo>
                  <a:cubicBezTo>
                    <a:pt x="3831" y="2027"/>
                    <a:pt x="3887" y="2031"/>
                    <a:pt x="3914" y="2057"/>
                  </a:cubicBezTo>
                  <a:cubicBezTo>
                    <a:pt x="3940" y="2083"/>
                    <a:pt x="3949" y="2035"/>
                    <a:pt x="3975" y="2009"/>
                  </a:cubicBezTo>
                  <a:cubicBezTo>
                    <a:pt x="4001" y="1983"/>
                    <a:pt x="4023" y="1975"/>
                    <a:pt x="4058" y="1960"/>
                  </a:cubicBezTo>
                  <a:cubicBezTo>
                    <a:pt x="4093" y="1946"/>
                    <a:pt x="4132" y="1975"/>
                    <a:pt x="4154" y="2001"/>
                  </a:cubicBezTo>
                  <a:cubicBezTo>
                    <a:pt x="4176" y="2027"/>
                    <a:pt x="4132" y="2027"/>
                    <a:pt x="4119" y="2061"/>
                  </a:cubicBezTo>
                  <a:cubicBezTo>
                    <a:pt x="4106" y="2094"/>
                    <a:pt x="4154" y="2086"/>
                    <a:pt x="4167" y="2064"/>
                  </a:cubicBezTo>
                  <a:cubicBezTo>
                    <a:pt x="4180" y="2042"/>
                    <a:pt x="4202" y="2064"/>
                    <a:pt x="4211" y="2094"/>
                  </a:cubicBezTo>
                  <a:cubicBezTo>
                    <a:pt x="4219" y="2124"/>
                    <a:pt x="4228" y="2127"/>
                    <a:pt x="4206" y="2150"/>
                  </a:cubicBezTo>
                  <a:cubicBezTo>
                    <a:pt x="4184" y="2172"/>
                    <a:pt x="4167" y="2168"/>
                    <a:pt x="4158" y="2205"/>
                  </a:cubicBezTo>
                  <a:cubicBezTo>
                    <a:pt x="4149" y="2242"/>
                    <a:pt x="4228" y="2205"/>
                    <a:pt x="4246" y="2220"/>
                  </a:cubicBezTo>
                  <a:cubicBezTo>
                    <a:pt x="4263" y="2235"/>
                    <a:pt x="4285" y="2253"/>
                    <a:pt x="4320" y="2250"/>
                  </a:cubicBezTo>
                  <a:cubicBezTo>
                    <a:pt x="4355" y="2246"/>
                    <a:pt x="4346" y="2242"/>
                    <a:pt x="4385" y="2268"/>
                  </a:cubicBezTo>
                  <a:cubicBezTo>
                    <a:pt x="4425" y="2294"/>
                    <a:pt x="4425" y="2246"/>
                    <a:pt x="4447" y="2220"/>
                  </a:cubicBezTo>
                  <a:cubicBezTo>
                    <a:pt x="4468" y="2194"/>
                    <a:pt x="4495" y="2209"/>
                    <a:pt x="4508" y="2235"/>
                  </a:cubicBezTo>
                  <a:cubicBezTo>
                    <a:pt x="4521" y="2261"/>
                    <a:pt x="4530" y="2250"/>
                    <a:pt x="4564" y="2272"/>
                  </a:cubicBezTo>
                  <a:cubicBezTo>
                    <a:pt x="4585" y="2285"/>
                    <a:pt x="4590" y="2296"/>
                    <a:pt x="4594" y="2315"/>
                  </a:cubicBezTo>
                  <a:cubicBezTo>
                    <a:pt x="4599" y="2309"/>
                    <a:pt x="4605" y="2302"/>
                    <a:pt x="4613" y="2294"/>
                  </a:cubicBezTo>
                  <a:cubicBezTo>
                    <a:pt x="4656" y="2246"/>
                    <a:pt x="4639" y="2290"/>
                    <a:pt x="4674" y="2305"/>
                  </a:cubicBezTo>
                  <a:cubicBezTo>
                    <a:pt x="4709" y="2320"/>
                    <a:pt x="4717" y="2301"/>
                    <a:pt x="4722" y="2268"/>
                  </a:cubicBezTo>
                  <a:cubicBezTo>
                    <a:pt x="4726" y="2235"/>
                    <a:pt x="4713" y="2183"/>
                    <a:pt x="4713" y="2142"/>
                  </a:cubicBezTo>
                  <a:cubicBezTo>
                    <a:pt x="4713" y="2101"/>
                    <a:pt x="4726" y="2124"/>
                    <a:pt x="4770" y="2112"/>
                  </a:cubicBezTo>
                  <a:cubicBezTo>
                    <a:pt x="4813" y="2101"/>
                    <a:pt x="4770" y="2112"/>
                    <a:pt x="4770" y="2072"/>
                  </a:cubicBezTo>
                  <a:cubicBezTo>
                    <a:pt x="4770" y="2031"/>
                    <a:pt x="4796" y="2053"/>
                    <a:pt x="4827" y="2035"/>
                  </a:cubicBezTo>
                  <a:cubicBezTo>
                    <a:pt x="4857" y="2016"/>
                    <a:pt x="4827" y="2001"/>
                    <a:pt x="4818" y="1968"/>
                  </a:cubicBezTo>
                  <a:cubicBezTo>
                    <a:pt x="4809" y="1935"/>
                    <a:pt x="4827" y="1857"/>
                    <a:pt x="4822" y="1820"/>
                  </a:cubicBezTo>
                  <a:cubicBezTo>
                    <a:pt x="4818" y="1783"/>
                    <a:pt x="4822" y="1771"/>
                    <a:pt x="4818" y="1731"/>
                  </a:cubicBezTo>
                  <a:cubicBezTo>
                    <a:pt x="4813" y="1690"/>
                    <a:pt x="4796" y="1660"/>
                    <a:pt x="4792" y="1631"/>
                  </a:cubicBezTo>
                  <a:cubicBezTo>
                    <a:pt x="4787" y="1601"/>
                    <a:pt x="4752" y="1594"/>
                    <a:pt x="4730" y="1564"/>
                  </a:cubicBezTo>
                  <a:cubicBezTo>
                    <a:pt x="4709" y="1534"/>
                    <a:pt x="4744" y="1542"/>
                    <a:pt x="4792" y="1531"/>
                  </a:cubicBezTo>
                  <a:cubicBezTo>
                    <a:pt x="4840" y="1519"/>
                    <a:pt x="4774" y="1475"/>
                    <a:pt x="4744" y="1449"/>
                  </a:cubicBezTo>
                  <a:cubicBezTo>
                    <a:pt x="4713" y="1423"/>
                    <a:pt x="4709" y="1408"/>
                    <a:pt x="4704" y="1367"/>
                  </a:cubicBezTo>
                  <a:cubicBezTo>
                    <a:pt x="4700" y="1327"/>
                    <a:pt x="4656" y="1312"/>
                    <a:pt x="4647" y="1264"/>
                  </a:cubicBezTo>
                  <a:cubicBezTo>
                    <a:pt x="4639" y="1215"/>
                    <a:pt x="4608" y="1230"/>
                    <a:pt x="4582" y="1227"/>
                  </a:cubicBezTo>
                  <a:cubicBezTo>
                    <a:pt x="4556" y="1223"/>
                    <a:pt x="4516" y="1193"/>
                    <a:pt x="4481" y="1186"/>
                  </a:cubicBezTo>
                  <a:cubicBezTo>
                    <a:pt x="4454" y="1180"/>
                    <a:pt x="4462" y="1168"/>
                    <a:pt x="4478" y="1157"/>
                  </a:cubicBezTo>
                  <a:cubicBezTo>
                    <a:pt x="4460" y="1150"/>
                    <a:pt x="4440" y="1144"/>
                    <a:pt x="4418" y="1148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9" name="Freeform 8"/>
            <p:cNvSpPr>
              <a:spLocks/>
            </p:cNvSpPr>
            <p:nvPr/>
          </p:nvSpPr>
          <p:spPr bwMode="auto">
            <a:xfrm>
              <a:off x="1496" y="1832"/>
              <a:ext cx="1455" cy="934"/>
            </a:xfrm>
            <a:custGeom>
              <a:avLst/>
              <a:gdLst>
                <a:gd name="T0" fmla="*/ 3054 w 3142"/>
                <a:gd name="T1" fmla="*/ 771 h 2018"/>
                <a:gd name="T2" fmla="*/ 2993 w 3142"/>
                <a:gd name="T3" fmla="*/ 656 h 2018"/>
                <a:gd name="T4" fmla="*/ 2875 w 3142"/>
                <a:gd name="T5" fmla="*/ 478 h 2018"/>
                <a:gd name="T6" fmla="*/ 2652 w 3142"/>
                <a:gd name="T7" fmla="*/ 396 h 2018"/>
                <a:gd name="T8" fmla="*/ 2460 w 3142"/>
                <a:gd name="T9" fmla="*/ 204 h 2018"/>
                <a:gd name="T10" fmla="*/ 2298 w 3142"/>
                <a:gd name="T11" fmla="*/ 200 h 2018"/>
                <a:gd name="T12" fmla="*/ 2023 w 3142"/>
                <a:gd name="T13" fmla="*/ 152 h 2018"/>
                <a:gd name="T14" fmla="*/ 1700 w 3142"/>
                <a:gd name="T15" fmla="*/ 185 h 2018"/>
                <a:gd name="T16" fmla="*/ 1482 w 3142"/>
                <a:gd name="T17" fmla="*/ 118 h 2018"/>
                <a:gd name="T18" fmla="*/ 1206 w 3142"/>
                <a:gd name="T19" fmla="*/ 40 h 2018"/>
                <a:gd name="T20" fmla="*/ 988 w 3142"/>
                <a:gd name="T21" fmla="*/ 59 h 2018"/>
                <a:gd name="T22" fmla="*/ 761 w 3142"/>
                <a:gd name="T23" fmla="*/ 85 h 2018"/>
                <a:gd name="T24" fmla="*/ 451 w 3142"/>
                <a:gd name="T25" fmla="*/ 133 h 2018"/>
                <a:gd name="T26" fmla="*/ 298 w 3142"/>
                <a:gd name="T27" fmla="*/ 333 h 2018"/>
                <a:gd name="T28" fmla="*/ 490 w 3142"/>
                <a:gd name="T29" fmla="*/ 463 h 2018"/>
                <a:gd name="T30" fmla="*/ 433 w 3142"/>
                <a:gd name="T31" fmla="*/ 574 h 2018"/>
                <a:gd name="T32" fmla="*/ 411 w 3142"/>
                <a:gd name="T33" fmla="*/ 689 h 2018"/>
                <a:gd name="T34" fmla="*/ 333 w 3142"/>
                <a:gd name="T35" fmla="*/ 752 h 2018"/>
                <a:gd name="T36" fmla="*/ 146 w 3142"/>
                <a:gd name="T37" fmla="*/ 716 h 2018"/>
                <a:gd name="T38" fmla="*/ 72 w 3142"/>
                <a:gd name="T39" fmla="*/ 792 h 2018"/>
                <a:gd name="T40" fmla="*/ 147 w 3142"/>
                <a:gd name="T41" fmla="*/ 850 h 2018"/>
                <a:gd name="T42" fmla="*/ 105 w 3142"/>
                <a:gd name="T43" fmla="*/ 956 h 2018"/>
                <a:gd name="T44" fmla="*/ 91 w 3142"/>
                <a:gd name="T45" fmla="*/ 1081 h 2018"/>
                <a:gd name="T46" fmla="*/ 10 w 3142"/>
                <a:gd name="T47" fmla="*/ 1109 h 2018"/>
                <a:gd name="T48" fmla="*/ 32 w 3142"/>
                <a:gd name="T49" fmla="*/ 1251 h 2018"/>
                <a:gd name="T50" fmla="*/ 141 w 3142"/>
                <a:gd name="T51" fmla="*/ 1423 h 2018"/>
                <a:gd name="T52" fmla="*/ 216 w 3142"/>
                <a:gd name="T53" fmla="*/ 1534 h 2018"/>
                <a:gd name="T54" fmla="*/ 432 w 3142"/>
                <a:gd name="T55" fmla="*/ 1579 h 2018"/>
                <a:gd name="T56" fmla="*/ 593 w 3142"/>
                <a:gd name="T57" fmla="*/ 1651 h 2018"/>
                <a:gd name="T58" fmla="*/ 747 w 3142"/>
                <a:gd name="T59" fmla="*/ 1673 h 2018"/>
                <a:gd name="T60" fmla="*/ 963 w 3142"/>
                <a:gd name="T61" fmla="*/ 1723 h 2018"/>
                <a:gd name="T62" fmla="*/ 1192 w 3142"/>
                <a:gd name="T63" fmla="*/ 1757 h 2018"/>
                <a:gd name="T64" fmla="*/ 1356 w 3142"/>
                <a:gd name="T65" fmla="*/ 1882 h 2018"/>
                <a:gd name="T66" fmla="*/ 1458 w 3142"/>
                <a:gd name="T67" fmla="*/ 1971 h 2018"/>
                <a:gd name="T68" fmla="*/ 1576 w 3142"/>
                <a:gd name="T69" fmla="*/ 1971 h 2018"/>
                <a:gd name="T70" fmla="*/ 1720 w 3142"/>
                <a:gd name="T71" fmla="*/ 1890 h 2018"/>
                <a:gd name="T72" fmla="*/ 1769 w 3142"/>
                <a:gd name="T73" fmla="*/ 1765 h 2018"/>
                <a:gd name="T74" fmla="*/ 1832 w 3142"/>
                <a:gd name="T75" fmla="*/ 1724 h 2018"/>
                <a:gd name="T76" fmla="*/ 1853 w 3142"/>
                <a:gd name="T77" fmla="*/ 1631 h 2018"/>
                <a:gd name="T78" fmla="*/ 2036 w 3142"/>
                <a:gd name="T79" fmla="*/ 1586 h 2018"/>
                <a:gd name="T80" fmla="*/ 2189 w 3142"/>
                <a:gd name="T81" fmla="*/ 1597 h 2018"/>
                <a:gd name="T82" fmla="*/ 2347 w 3142"/>
                <a:gd name="T83" fmla="*/ 1597 h 2018"/>
                <a:gd name="T84" fmla="*/ 2499 w 3142"/>
                <a:gd name="T85" fmla="*/ 1738 h 2018"/>
                <a:gd name="T86" fmla="*/ 2661 w 3142"/>
                <a:gd name="T87" fmla="*/ 1686 h 2018"/>
                <a:gd name="T88" fmla="*/ 2805 w 3142"/>
                <a:gd name="T89" fmla="*/ 1649 h 2018"/>
                <a:gd name="T90" fmla="*/ 2949 w 3142"/>
                <a:gd name="T91" fmla="*/ 1656 h 2018"/>
                <a:gd name="T92" fmla="*/ 3011 w 3142"/>
                <a:gd name="T93" fmla="*/ 1530 h 2018"/>
                <a:gd name="T94" fmla="*/ 2831 w 3142"/>
                <a:gd name="T95" fmla="*/ 1441 h 2018"/>
                <a:gd name="T96" fmla="*/ 2661 w 3142"/>
                <a:gd name="T97" fmla="*/ 1323 h 2018"/>
                <a:gd name="T98" fmla="*/ 2818 w 3142"/>
                <a:gd name="T99" fmla="*/ 1382 h 2018"/>
                <a:gd name="T100" fmla="*/ 2884 w 3142"/>
                <a:gd name="T101" fmla="*/ 1234 h 2018"/>
                <a:gd name="T102" fmla="*/ 2976 w 3142"/>
                <a:gd name="T103" fmla="*/ 1115 h 2018"/>
                <a:gd name="T104" fmla="*/ 3032 w 3142"/>
                <a:gd name="T105" fmla="*/ 1026 h 2018"/>
                <a:gd name="T106" fmla="*/ 3089 w 3142"/>
                <a:gd name="T107" fmla="*/ 997 h 2018"/>
                <a:gd name="T108" fmla="*/ 3085 w 3142"/>
                <a:gd name="T109" fmla="*/ 823 h 2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42" h="2018">
                  <a:moveTo>
                    <a:pt x="3085" y="823"/>
                  </a:moveTo>
                  <a:cubicBezTo>
                    <a:pt x="3054" y="797"/>
                    <a:pt x="3054" y="789"/>
                    <a:pt x="3054" y="771"/>
                  </a:cubicBezTo>
                  <a:cubicBezTo>
                    <a:pt x="3054" y="752"/>
                    <a:pt x="3063" y="726"/>
                    <a:pt x="3032" y="708"/>
                  </a:cubicBezTo>
                  <a:cubicBezTo>
                    <a:pt x="2962" y="682"/>
                    <a:pt x="2976" y="678"/>
                    <a:pt x="2993" y="656"/>
                  </a:cubicBezTo>
                  <a:cubicBezTo>
                    <a:pt x="3011" y="633"/>
                    <a:pt x="2980" y="604"/>
                    <a:pt x="2971" y="574"/>
                  </a:cubicBezTo>
                  <a:cubicBezTo>
                    <a:pt x="2962" y="545"/>
                    <a:pt x="2901" y="530"/>
                    <a:pt x="2875" y="478"/>
                  </a:cubicBezTo>
                  <a:cubicBezTo>
                    <a:pt x="2849" y="426"/>
                    <a:pt x="2796" y="489"/>
                    <a:pt x="2762" y="496"/>
                  </a:cubicBezTo>
                  <a:cubicBezTo>
                    <a:pt x="2727" y="504"/>
                    <a:pt x="2679" y="426"/>
                    <a:pt x="2652" y="396"/>
                  </a:cubicBezTo>
                  <a:cubicBezTo>
                    <a:pt x="2626" y="367"/>
                    <a:pt x="2547" y="348"/>
                    <a:pt x="2499" y="330"/>
                  </a:cubicBezTo>
                  <a:cubicBezTo>
                    <a:pt x="2451" y="311"/>
                    <a:pt x="2464" y="244"/>
                    <a:pt x="2460" y="204"/>
                  </a:cubicBezTo>
                  <a:cubicBezTo>
                    <a:pt x="2456" y="163"/>
                    <a:pt x="2403" y="207"/>
                    <a:pt x="2360" y="226"/>
                  </a:cubicBezTo>
                  <a:cubicBezTo>
                    <a:pt x="2316" y="244"/>
                    <a:pt x="2303" y="229"/>
                    <a:pt x="2298" y="200"/>
                  </a:cubicBezTo>
                  <a:cubicBezTo>
                    <a:pt x="2294" y="170"/>
                    <a:pt x="2224" y="170"/>
                    <a:pt x="2141" y="126"/>
                  </a:cubicBezTo>
                  <a:cubicBezTo>
                    <a:pt x="2058" y="81"/>
                    <a:pt x="2050" y="122"/>
                    <a:pt x="2023" y="152"/>
                  </a:cubicBezTo>
                  <a:cubicBezTo>
                    <a:pt x="1997" y="181"/>
                    <a:pt x="1910" y="144"/>
                    <a:pt x="1844" y="133"/>
                  </a:cubicBezTo>
                  <a:cubicBezTo>
                    <a:pt x="1779" y="122"/>
                    <a:pt x="1770" y="159"/>
                    <a:pt x="1700" y="185"/>
                  </a:cubicBezTo>
                  <a:cubicBezTo>
                    <a:pt x="1630" y="211"/>
                    <a:pt x="1639" y="215"/>
                    <a:pt x="1595" y="207"/>
                  </a:cubicBezTo>
                  <a:cubicBezTo>
                    <a:pt x="1552" y="200"/>
                    <a:pt x="1517" y="166"/>
                    <a:pt x="1482" y="118"/>
                  </a:cubicBezTo>
                  <a:cubicBezTo>
                    <a:pt x="1447" y="70"/>
                    <a:pt x="1420" y="96"/>
                    <a:pt x="1368" y="92"/>
                  </a:cubicBezTo>
                  <a:cubicBezTo>
                    <a:pt x="1316" y="89"/>
                    <a:pt x="1263" y="48"/>
                    <a:pt x="1206" y="40"/>
                  </a:cubicBezTo>
                  <a:cubicBezTo>
                    <a:pt x="1150" y="33"/>
                    <a:pt x="1080" y="59"/>
                    <a:pt x="1045" y="29"/>
                  </a:cubicBezTo>
                  <a:cubicBezTo>
                    <a:pt x="1010" y="0"/>
                    <a:pt x="1010" y="29"/>
                    <a:pt x="988" y="59"/>
                  </a:cubicBezTo>
                  <a:cubicBezTo>
                    <a:pt x="966" y="89"/>
                    <a:pt x="927" y="66"/>
                    <a:pt x="879" y="63"/>
                  </a:cubicBezTo>
                  <a:cubicBezTo>
                    <a:pt x="831" y="59"/>
                    <a:pt x="822" y="81"/>
                    <a:pt x="761" y="85"/>
                  </a:cubicBezTo>
                  <a:cubicBezTo>
                    <a:pt x="700" y="89"/>
                    <a:pt x="700" y="122"/>
                    <a:pt x="617" y="126"/>
                  </a:cubicBezTo>
                  <a:cubicBezTo>
                    <a:pt x="534" y="129"/>
                    <a:pt x="521" y="141"/>
                    <a:pt x="451" y="133"/>
                  </a:cubicBezTo>
                  <a:cubicBezTo>
                    <a:pt x="381" y="126"/>
                    <a:pt x="368" y="166"/>
                    <a:pt x="320" y="196"/>
                  </a:cubicBezTo>
                  <a:cubicBezTo>
                    <a:pt x="272" y="226"/>
                    <a:pt x="298" y="285"/>
                    <a:pt x="298" y="333"/>
                  </a:cubicBezTo>
                  <a:cubicBezTo>
                    <a:pt x="298" y="381"/>
                    <a:pt x="381" y="370"/>
                    <a:pt x="390" y="400"/>
                  </a:cubicBezTo>
                  <a:cubicBezTo>
                    <a:pt x="398" y="430"/>
                    <a:pt x="464" y="430"/>
                    <a:pt x="490" y="463"/>
                  </a:cubicBezTo>
                  <a:cubicBezTo>
                    <a:pt x="516" y="496"/>
                    <a:pt x="481" y="504"/>
                    <a:pt x="468" y="522"/>
                  </a:cubicBezTo>
                  <a:cubicBezTo>
                    <a:pt x="455" y="541"/>
                    <a:pt x="477" y="556"/>
                    <a:pt x="433" y="574"/>
                  </a:cubicBezTo>
                  <a:cubicBezTo>
                    <a:pt x="390" y="593"/>
                    <a:pt x="394" y="582"/>
                    <a:pt x="359" y="619"/>
                  </a:cubicBezTo>
                  <a:cubicBezTo>
                    <a:pt x="324" y="656"/>
                    <a:pt x="350" y="674"/>
                    <a:pt x="411" y="689"/>
                  </a:cubicBezTo>
                  <a:cubicBezTo>
                    <a:pt x="473" y="704"/>
                    <a:pt x="446" y="722"/>
                    <a:pt x="407" y="722"/>
                  </a:cubicBezTo>
                  <a:cubicBezTo>
                    <a:pt x="368" y="722"/>
                    <a:pt x="425" y="730"/>
                    <a:pt x="333" y="752"/>
                  </a:cubicBezTo>
                  <a:cubicBezTo>
                    <a:pt x="241" y="774"/>
                    <a:pt x="232" y="748"/>
                    <a:pt x="180" y="726"/>
                  </a:cubicBezTo>
                  <a:cubicBezTo>
                    <a:pt x="167" y="721"/>
                    <a:pt x="156" y="718"/>
                    <a:pt x="146" y="716"/>
                  </a:cubicBezTo>
                  <a:cubicBezTo>
                    <a:pt x="148" y="729"/>
                    <a:pt x="148" y="743"/>
                    <a:pt x="141" y="753"/>
                  </a:cubicBezTo>
                  <a:cubicBezTo>
                    <a:pt x="121" y="781"/>
                    <a:pt x="62" y="770"/>
                    <a:pt x="72" y="792"/>
                  </a:cubicBezTo>
                  <a:cubicBezTo>
                    <a:pt x="82" y="814"/>
                    <a:pt x="91" y="806"/>
                    <a:pt x="114" y="814"/>
                  </a:cubicBezTo>
                  <a:cubicBezTo>
                    <a:pt x="137" y="823"/>
                    <a:pt x="147" y="831"/>
                    <a:pt x="147" y="850"/>
                  </a:cubicBezTo>
                  <a:cubicBezTo>
                    <a:pt x="147" y="870"/>
                    <a:pt x="141" y="886"/>
                    <a:pt x="118" y="906"/>
                  </a:cubicBezTo>
                  <a:cubicBezTo>
                    <a:pt x="95" y="925"/>
                    <a:pt x="121" y="925"/>
                    <a:pt x="105" y="956"/>
                  </a:cubicBezTo>
                  <a:cubicBezTo>
                    <a:pt x="88" y="987"/>
                    <a:pt x="62" y="998"/>
                    <a:pt x="75" y="1023"/>
                  </a:cubicBezTo>
                  <a:cubicBezTo>
                    <a:pt x="88" y="1048"/>
                    <a:pt x="91" y="1064"/>
                    <a:pt x="91" y="1081"/>
                  </a:cubicBezTo>
                  <a:cubicBezTo>
                    <a:pt x="91" y="1098"/>
                    <a:pt x="85" y="1109"/>
                    <a:pt x="62" y="1100"/>
                  </a:cubicBezTo>
                  <a:cubicBezTo>
                    <a:pt x="39" y="1092"/>
                    <a:pt x="10" y="1087"/>
                    <a:pt x="10" y="1109"/>
                  </a:cubicBezTo>
                  <a:cubicBezTo>
                    <a:pt x="10" y="1131"/>
                    <a:pt x="23" y="1162"/>
                    <a:pt x="19" y="1187"/>
                  </a:cubicBezTo>
                  <a:cubicBezTo>
                    <a:pt x="16" y="1212"/>
                    <a:pt x="0" y="1226"/>
                    <a:pt x="32" y="1251"/>
                  </a:cubicBezTo>
                  <a:cubicBezTo>
                    <a:pt x="65" y="1276"/>
                    <a:pt x="95" y="1312"/>
                    <a:pt x="101" y="1340"/>
                  </a:cubicBezTo>
                  <a:cubicBezTo>
                    <a:pt x="108" y="1367"/>
                    <a:pt x="121" y="1403"/>
                    <a:pt x="141" y="1423"/>
                  </a:cubicBezTo>
                  <a:cubicBezTo>
                    <a:pt x="160" y="1442"/>
                    <a:pt x="167" y="1445"/>
                    <a:pt x="170" y="1473"/>
                  </a:cubicBezTo>
                  <a:cubicBezTo>
                    <a:pt x="173" y="1501"/>
                    <a:pt x="164" y="1526"/>
                    <a:pt x="216" y="1534"/>
                  </a:cubicBezTo>
                  <a:cubicBezTo>
                    <a:pt x="268" y="1542"/>
                    <a:pt x="331" y="1531"/>
                    <a:pt x="350" y="1551"/>
                  </a:cubicBezTo>
                  <a:cubicBezTo>
                    <a:pt x="370" y="1570"/>
                    <a:pt x="399" y="1570"/>
                    <a:pt x="432" y="1579"/>
                  </a:cubicBezTo>
                  <a:cubicBezTo>
                    <a:pt x="465" y="1587"/>
                    <a:pt x="508" y="1576"/>
                    <a:pt x="527" y="1598"/>
                  </a:cubicBezTo>
                  <a:cubicBezTo>
                    <a:pt x="547" y="1620"/>
                    <a:pt x="573" y="1629"/>
                    <a:pt x="593" y="1651"/>
                  </a:cubicBezTo>
                  <a:cubicBezTo>
                    <a:pt x="612" y="1673"/>
                    <a:pt x="612" y="1698"/>
                    <a:pt x="655" y="1687"/>
                  </a:cubicBezTo>
                  <a:cubicBezTo>
                    <a:pt x="698" y="1676"/>
                    <a:pt x="704" y="1640"/>
                    <a:pt x="747" y="1673"/>
                  </a:cubicBezTo>
                  <a:cubicBezTo>
                    <a:pt x="789" y="1706"/>
                    <a:pt x="786" y="1701"/>
                    <a:pt x="838" y="1709"/>
                  </a:cubicBezTo>
                  <a:cubicBezTo>
                    <a:pt x="891" y="1718"/>
                    <a:pt x="924" y="1726"/>
                    <a:pt x="963" y="1723"/>
                  </a:cubicBezTo>
                  <a:cubicBezTo>
                    <a:pt x="1002" y="1720"/>
                    <a:pt x="1015" y="1723"/>
                    <a:pt x="1055" y="1732"/>
                  </a:cubicBezTo>
                  <a:cubicBezTo>
                    <a:pt x="1094" y="1740"/>
                    <a:pt x="1150" y="1720"/>
                    <a:pt x="1192" y="1757"/>
                  </a:cubicBezTo>
                  <a:cubicBezTo>
                    <a:pt x="1235" y="1793"/>
                    <a:pt x="1251" y="1815"/>
                    <a:pt x="1274" y="1829"/>
                  </a:cubicBezTo>
                  <a:cubicBezTo>
                    <a:pt x="1297" y="1843"/>
                    <a:pt x="1346" y="1837"/>
                    <a:pt x="1356" y="1882"/>
                  </a:cubicBezTo>
                  <a:cubicBezTo>
                    <a:pt x="1366" y="1926"/>
                    <a:pt x="1349" y="1946"/>
                    <a:pt x="1386" y="1948"/>
                  </a:cubicBezTo>
                  <a:cubicBezTo>
                    <a:pt x="1422" y="1951"/>
                    <a:pt x="1435" y="1954"/>
                    <a:pt x="1458" y="1971"/>
                  </a:cubicBezTo>
                  <a:cubicBezTo>
                    <a:pt x="1481" y="1987"/>
                    <a:pt x="1487" y="1998"/>
                    <a:pt x="1520" y="1976"/>
                  </a:cubicBezTo>
                  <a:cubicBezTo>
                    <a:pt x="1553" y="1954"/>
                    <a:pt x="1553" y="1957"/>
                    <a:pt x="1576" y="1971"/>
                  </a:cubicBezTo>
                  <a:cubicBezTo>
                    <a:pt x="1598" y="1984"/>
                    <a:pt x="1618" y="2018"/>
                    <a:pt x="1657" y="1962"/>
                  </a:cubicBezTo>
                  <a:cubicBezTo>
                    <a:pt x="1697" y="1907"/>
                    <a:pt x="1693" y="1907"/>
                    <a:pt x="1720" y="1890"/>
                  </a:cubicBezTo>
                  <a:cubicBezTo>
                    <a:pt x="1746" y="1873"/>
                    <a:pt x="1746" y="1854"/>
                    <a:pt x="1759" y="1823"/>
                  </a:cubicBezTo>
                  <a:cubicBezTo>
                    <a:pt x="1772" y="1793"/>
                    <a:pt x="1782" y="1776"/>
                    <a:pt x="1769" y="1765"/>
                  </a:cubicBezTo>
                  <a:cubicBezTo>
                    <a:pt x="1756" y="1754"/>
                    <a:pt x="1739" y="1720"/>
                    <a:pt x="1772" y="1715"/>
                  </a:cubicBezTo>
                  <a:cubicBezTo>
                    <a:pt x="1794" y="1711"/>
                    <a:pt x="1814" y="1717"/>
                    <a:pt x="1832" y="1724"/>
                  </a:cubicBezTo>
                  <a:cubicBezTo>
                    <a:pt x="1837" y="1721"/>
                    <a:pt x="1843" y="1718"/>
                    <a:pt x="1849" y="1716"/>
                  </a:cubicBezTo>
                  <a:cubicBezTo>
                    <a:pt x="1875" y="1705"/>
                    <a:pt x="1840" y="1645"/>
                    <a:pt x="1853" y="1631"/>
                  </a:cubicBezTo>
                  <a:cubicBezTo>
                    <a:pt x="1866" y="1616"/>
                    <a:pt x="1879" y="1605"/>
                    <a:pt x="1918" y="1586"/>
                  </a:cubicBezTo>
                  <a:cubicBezTo>
                    <a:pt x="1958" y="1568"/>
                    <a:pt x="2015" y="1586"/>
                    <a:pt x="2036" y="1586"/>
                  </a:cubicBezTo>
                  <a:cubicBezTo>
                    <a:pt x="2058" y="1586"/>
                    <a:pt x="2102" y="1590"/>
                    <a:pt x="2124" y="1571"/>
                  </a:cubicBezTo>
                  <a:cubicBezTo>
                    <a:pt x="2146" y="1553"/>
                    <a:pt x="2163" y="1571"/>
                    <a:pt x="2189" y="1597"/>
                  </a:cubicBezTo>
                  <a:cubicBezTo>
                    <a:pt x="2215" y="1623"/>
                    <a:pt x="2233" y="1605"/>
                    <a:pt x="2264" y="1631"/>
                  </a:cubicBezTo>
                  <a:cubicBezTo>
                    <a:pt x="2294" y="1656"/>
                    <a:pt x="2316" y="1616"/>
                    <a:pt x="2347" y="1597"/>
                  </a:cubicBezTo>
                  <a:cubicBezTo>
                    <a:pt x="2377" y="1579"/>
                    <a:pt x="2399" y="1608"/>
                    <a:pt x="2412" y="1638"/>
                  </a:cubicBezTo>
                  <a:cubicBezTo>
                    <a:pt x="2425" y="1668"/>
                    <a:pt x="2469" y="1705"/>
                    <a:pt x="2499" y="1738"/>
                  </a:cubicBezTo>
                  <a:cubicBezTo>
                    <a:pt x="2530" y="1771"/>
                    <a:pt x="2574" y="1768"/>
                    <a:pt x="2626" y="1768"/>
                  </a:cubicBezTo>
                  <a:cubicBezTo>
                    <a:pt x="2679" y="1768"/>
                    <a:pt x="2661" y="1716"/>
                    <a:pt x="2661" y="1686"/>
                  </a:cubicBezTo>
                  <a:cubicBezTo>
                    <a:pt x="2661" y="1656"/>
                    <a:pt x="2705" y="1631"/>
                    <a:pt x="2735" y="1608"/>
                  </a:cubicBezTo>
                  <a:cubicBezTo>
                    <a:pt x="2766" y="1586"/>
                    <a:pt x="2779" y="1616"/>
                    <a:pt x="2805" y="1649"/>
                  </a:cubicBezTo>
                  <a:cubicBezTo>
                    <a:pt x="2831" y="1682"/>
                    <a:pt x="2862" y="1656"/>
                    <a:pt x="2888" y="1627"/>
                  </a:cubicBezTo>
                  <a:cubicBezTo>
                    <a:pt x="2914" y="1597"/>
                    <a:pt x="2932" y="1631"/>
                    <a:pt x="2949" y="1656"/>
                  </a:cubicBezTo>
                  <a:cubicBezTo>
                    <a:pt x="2967" y="1682"/>
                    <a:pt x="2997" y="1649"/>
                    <a:pt x="2997" y="1619"/>
                  </a:cubicBezTo>
                  <a:cubicBezTo>
                    <a:pt x="2997" y="1590"/>
                    <a:pt x="3015" y="1575"/>
                    <a:pt x="3011" y="1530"/>
                  </a:cubicBezTo>
                  <a:cubicBezTo>
                    <a:pt x="3006" y="1486"/>
                    <a:pt x="2971" y="1504"/>
                    <a:pt x="2928" y="1501"/>
                  </a:cubicBezTo>
                  <a:cubicBezTo>
                    <a:pt x="2884" y="1497"/>
                    <a:pt x="2853" y="1475"/>
                    <a:pt x="2831" y="1441"/>
                  </a:cubicBezTo>
                  <a:cubicBezTo>
                    <a:pt x="2810" y="1408"/>
                    <a:pt x="2753" y="1423"/>
                    <a:pt x="2696" y="1416"/>
                  </a:cubicBezTo>
                  <a:cubicBezTo>
                    <a:pt x="2639" y="1408"/>
                    <a:pt x="2644" y="1367"/>
                    <a:pt x="2661" y="1323"/>
                  </a:cubicBezTo>
                  <a:cubicBezTo>
                    <a:pt x="2679" y="1278"/>
                    <a:pt x="2692" y="1319"/>
                    <a:pt x="2722" y="1353"/>
                  </a:cubicBezTo>
                  <a:cubicBezTo>
                    <a:pt x="2753" y="1386"/>
                    <a:pt x="2779" y="1371"/>
                    <a:pt x="2818" y="1382"/>
                  </a:cubicBezTo>
                  <a:cubicBezTo>
                    <a:pt x="2858" y="1393"/>
                    <a:pt x="2866" y="1375"/>
                    <a:pt x="2875" y="1341"/>
                  </a:cubicBezTo>
                  <a:cubicBezTo>
                    <a:pt x="2884" y="1308"/>
                    <a:pt x="2888" y="1282"/>
                    <a:pt x="2884" y="1234"/>
                  </a:cubicBezTo>
                  <a:cubicBezTo>
                    <a:pt x="2879" y="1186"/>
                    <a:pt x="2932" y="1208"/>
                    <a:pt x="2958" y="1182"/>
                  </a:cubicBezTo>
                  <a:cubicBezTo>
                    <a:pt x="2984" y="1156"/>
                    <a:pt x="2997" y="1134"/>
                    <a:pt x="2976" y="1115"/>
                  </a:cubicBezTo>
                  <a:cubicBezTo>
                    <a:pt x="2954" y="1097"/>
                    <a:pt x="2976" y="1063"/>
                    <a:pt x="2993" y="1067"/>
                  </a:cubicBezTo>
                  <a:cubicBezTo>
                    <a:pt x="3011" y="1071"/>
                    <a:pt x="3024" y="1060"/>
                    <a:pt x="3032" y="1026"/>
                  </a:cubicBezTo>
                  <a:cubicBezTo>
                    <a:pt x="3041" y="993"/>
                    <a:pt x="3032" y="1026"/>
                    <a:pt x="3059" y="1045"/>
                  </a:cubicBezTo>
                  <a:cubicBezTo>
                    <a:pt x="3085" y="1063"/>
                    <a:pt x="3089" y="1012"/>
                    <a:pt x="3089" y="997"/>
                  </a:cubicBezTo>
                  <a:cubicBezTo>
                    <a:pt x="3089" y="982"/>
                    <a:pt x="3107" y="967"/>
                    <a:pt x="3124" y="926"/>
                  </a:cubicBezTo>
                  <a:cubicBezTo>
                    <a:pt x="3142" y="886"/>
                    <a:pt x="3115" y="848"/>
                    <a:pt x="3085" y="823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" name="Freeform 9"/>
            <p:cNvSpPr>
              <a:spLocks/>
            </p:cNvSpPr>
            <p:nvPr/>
          </p:nvSpPr>
          <p:spPr bwMode="auto">
            <a:xfrm>
              <a:off x="4417" y="5"/>
              <a:ext cx="1343" cy="1064"/>
            </a:xfrm>
            <a:custGeom>
              <a:avLst/>
              <a:gdLst>
                <a:gd name="T0" fmla="*/ 2816 w 2901"/>
                <a:gd name="T1" fmla="*/ 823 h 2299"/>
                <a:gd name="T2" fmla="*/ 2595 w 2901"/>
                <a:gd name="T3" fmla="*/ 966 h 2299"/>
                <a:gd name="T4" fmla="*/ 2459 w 2901"/>
                <a:gd name="T5" fmla="*/ 1101 h 2299"/>
                <a:gd name="T6" fmla="*/ 2172 w 2901"/>
                <a:gd name="T7" fmla="*/ 1175 h 2299"/>
                <a:gd name="T8" fmla="*/ 2095 w 2901"/>
                <a:gd name="T9" fmla="*/ 1030 h 2299"/>
                <a:gd name="T10" fmla="*/ 1971 w 2901"/>
                <a:gd name="T11" fmla="*/ 915 h 2299"/>
                <a:gd name="T12" fmla="*/ 1823 w 2901"/>
                <a:gd name="T13" fmla="*/ 855 h 2299"/>
                <a:gd name="T14" fmla="*/ 1589 w 2901"/>
                <a:gd name="T15" fmla="*/ 817 h 2299"/>
                <a:gd name="T16" fmla="*/ 1344 w 2901"/>
                <a:gd name="T17" fmla="*/ 713 h 2299"/>
                <a:gd name="T18" fmla="*/ 1154 w 2901"/>
                <a:gd name="T19" fmla="*/ 491 h 2299"/>
                <a:gd name="T20" fmla="*/ 1073 w 2901"/>
                <a:gd name="T21" fmla="*/ 352 h 2299"/>
                <a:gd name="T22" fmla="*/ 954 w 2901"/>
                <a:gd name="T23" fmla="*/ 188 h 2299"/>
                <a:gd name="T24" fmla="*/ 814 w 2901"/>
                <a:gd name="T25" fmla="*/ 82 h 2299"/>
                <a:gd name="T26" fmla="*/ 641 w 2901"/>
                <a:gd name="T27" fmla="*/ 75 h 2299"/>
                <a:gd name="T28" fmla="*/ 330 w 2901"/>
                <a:gd name="T29" fmla="*/ 32 h 2299"/>
                <a:gd name="T30" fmla="*/ 64 w 2901"/>
                <a:gd name="T31" fmla="*/ 131 h 2299"/>
                <a:gd name="T32" fmla="*/ 99 w 2901"/>
                <a:gd name="T33" fmla="*/ 248 h 2299"/>
                <a:gd name="T34" fmla="*/ 210 w 2901"/>
                <a:gd name="T35" fmla="*/ 370 h 2299"/>
                <a:gd name="T36" fmla="*/ 348 w 2901"/>
                <a:gd name="T37" fmla="*/ 403 h 2299"/>
                <a:gd name="T38" fmla="*/ 623 w 2901"/>
                <a:gd name="T39" fmla="*/ 576 h 2299"/>
                <a:gd name="T40" fmla="*/ 920 w 2901"/>
                <a:gd name="T41" fmla="*/ 505 h 2299"/>
                <a:gd name="T42" fmla="*/ 970 w 2901"/>
                <a:gd name="T43" fmla="*/ 724 h 2299"/>
                <a:gd name="T44" fmla="*/ 961 w 2901"/>
                <a:gd name="T45" fmla="*/ 1069 h 2299"/>
                <a:gd name="T46" fmla="*/ 911 w 2901"/>
                <a:gd name="T47" fmla="*/ 1289 h 2299"/>
                <a:gd name="T48" fmla="*/ 835 w 2901"/>
                <a:gd name="T49" fmla="*/ 1269 h 2299"/>
                <a:gd name="T50" fmla="*/ 605 w 2901"/>
                <a:gd name="T51" fmla="*/ 1563 h 2299"/>
                <a:gd name="T52" fmla="*/ 721 w 2901"/>
                <a:gd name="T53" fmla="*/ 1730 h 2299"/>
                <a:gd name="T54" fmla="*/ 813 w 2901"/>
                <a:gd name="T55" fmla="*/ 1775 h 2299"/>
                <a:gd name="T56" fmla="*/ 766 w 2901"/>
                <a:gd name="T57" fmla="*/ 1889 h 2299"/>
                <a:gd name="T58" fmla="*/ 934 w 2901"/>
                <a:gd name="T59" fmla="*/ 1865 h 2299"/>
                <a:gd name="T60" fmla="*/ 1114 w 2901"/>
                <a:gd name="T61" fmla="*/ 2027 h 2299"/>
                <a:gd name="T62" fmla="*/ 1330 w 2901"/>
                <a:gd name="T63" fmla="*/ 1982 h 2299"/>
                <a:gd name="T64" fmla="*/ 1520 w 2901"/>
                <a:gd name="T65" fmla="*/ 1990 h 2299"/>
                <a:gd name="T66" fmla="*/ 1651 w 2901"/>
                <a:gd name="T67" fmla="*/ 2118 h 2299"/>
                <a:gd name="T68" fmla="*/ 1868 w 2901"/>
                <a:gd name="T69" fmla="*/ 2210 h 2299"/>
                <a:gd name="T70" fmla="*/ 1914 w 2901"/>
                <a:gd name="T71" fmla="*/ 2071 h 2299"/>
                <a:gd name="T72" fmla="*/ 1976 w 2901"/>
                <a:gd name="T73" fmla="*/ 2205 h 2299"/>
                <a:gd name="T74" fmla="*/ 2156 w 2901"/>
                <a:gd name="T75" fmla="*/ 2255 h 2299"/>
                <a:gd name="T76" fmla="*/ 2284 w 2901"/>
                <a:gd name="T77" fmla="*/ 2138 h 2299"/>
                <a:gd name="T78" fmla="*/ 2431 w 2901"/>
                <a:gd name="T79" fmla="*/ 2205 h 2299"/>
                <a:gd name="T80" fmla="*/ 2507 w 2901"/>
                <a:gd name="T81" fmla="*/ 1988 h 2299"/>
                <a:gd name="T82" fmla="*/ 2515 w 2901"/>
                <a:gd name="T83" fmla="*/ 1808 h 2299"/>
                <a:gd name="T84" fmla="*/ 2733 w 2901"/>
                <a:gd name="T85" fmla="*/ 1728 h 2299"/>
                <a:gd name="T86" fmla="*/ 2800 w 2901"/>
                <a:gd name="T87" fmla="*/ 1657 h 2299"/>
                <a:gd name="T88" fmla="*/ 2824 w 2901"/>
                <a:gd name="T89" fmla="*/ 1501 h 2299"/>
                <a:gd name="T90" fmla="*/ 2857 w 2901"/>
                <a:gd name="T91" fmla="*/ 1357 h 2299"/>
                <a:gd name="T92" fmla="*/ 2834 w 2901"/>
                <a:gd name="T93" fmla="*/ 1193 h 2299"/>
                <a:gd name="T94" fmla="*/ 2870 w 2901"/>
                <a:gd name="T95" fmla="*/ 1063 h 2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901" h="2299">
                  <a:moveTo>
                    <a:pt x="2867" y="958"/>
                  </a:moveTo>
                  <a:cubicBezTo>
                    <a:pt x="2834" y="938"/>
                    <a:pt x="2815" y="941"/>
                    <a:pt x="2819" y="905"/>
                  </a:cubicBezTo>
                  <a:cubicBezTo>
                    <a:pt x="2824" y="869"/>
                    <a:pt x="2841" y="823"/>
                    <a:pt x="2816" y="823"/>
                  </a:cubicBezTo>
                  <a:cubicBezTo>
                    <a:pt x="2792" y="823"/>
                    <a:pt x="2754" y="840"/>
                    <a:pt x="2728" y="859"/>
                  </a:cubicBezTo>
                  <a:cubicBezTo>
                    <a:pt x="2701" y="879"/>
                    <a:pt x="2665" y="895"/>
                    <a:pt x="2647" y="919"/>
                  </a:cubicBezTo>
                  <a:cubicBezTo>
                    <a:pt x="2629" y="942"/>
                    <a:pt x="2624" y="966"/>
                    <a:pt x="2595" y="966"/>
                  </a:cubicBezTo>
                  <a:cubicBezTo>
                    <a:pt x="2566" y="966"/>
                    <a:pt x="2538" y="976"/>
                    <a:pt x="2525" y="998"/>
                  </a:cubicBezTo>
                  <a:cubicBezTo>
                    <a:pt x="2511" y="1020"/>
                    <a:pt x="2475" y="1056"/>
                    <a:pt x="2479" y="1077"/>
                  </a:cubicBezTo>
                  <a:cubicBezTo>
                    <a:pt x="2482" y="1098"/>
                    <a:pt x="2485" y="1091"/>
                    <a:pt x="2459" y="1101"/>
                  </a:cubicBezTo>
                  <a:cubicBezTo>
                    <a:pt x="2433" y="1111"/>
                    <a:pt x="2377" y="1127"/>
                    <a:pt x="2351" y="1140"/>
                  </a:cubicBezTo>
                  <a:cubicBezTo>
                    <a:pt x="2325" y="1152"/>
                    <a:pt x="2258" y="1138"/>
                    <a:pt x="2238" y="1163"/>
                  </a:cubicBezTo>
                  <a:cubicBezTo>
                    <a:pt x="2218" y="1189"/>
                    <a:pt x="2194" y="1200"/>
                    <a:pt x="2172" y="1175"/>
                  </a:cubicBezTo>
                  <a:cubicBezTo>
                    <a:pt x="2151" y="1150"/>
                    <a:pt x="2140" y="1122"/>
                    <a:pt x="2113" y="1109"/>
                  </a:cubicBezTo>
                  <a:cubicBezTo>
                    <a:pt x="2087" y="1097"/>
                    <a:pt x="2076" y="1098"/>
                    <a:pt x="2090" y="1080"/>
                  </a:cubicBezTo>
                  <a:cubicBezTo>
                    <a:pt x="2105" y="1062"/>
                    <a:pt x="2113" y="1047"/>
                    <a:pt x="2095" y="1030"/>
                  </a:cubicBezTo>
                  <a:cubicBezTo>
                    <a:pt x="2077" y="1013"/>
                    <a:pt x="2035" y="1002"/>
                    <a:pt x="2035" y="977"/>
                  </a:cubicBezTo>
                  <a:cubicBezTo>
                    <a:pt x="2035" y="952"/>
                    <a:pt x="2036" y="926"/>
                    <a:pt x="2022" y="916"/>
                  </a:cubicBezTo>
                  <a:cubicBezTo>
                    <a:pt x="2007" y="906"/>
                    <a:pt x="1979" y="895"/>
                    <a:pt x="1971" y="915"/>
                  </a:cubicBezTo>
                  <a:cubicBezTo>
                    <a:pt x="1963" y="934"/>
                    <a:pt x="1964" y="934"/>
                    <a:pt x="1928" y="919"/>
                  </a:cubicBezTo>
                  <a:cubicBezTo>
                    <a:pt x="1892" y="904"/>
                    <a:pt x="1874" y="898"/>
                    <a:pt x="1863" y="888"/>
                  </a:cubicBezTo>
                  <a:cubicBezTo>
                    <a:pt x="1851" y="879"/>
                    <a:pt x="1828" y="865"/>
                    <a:pt x="1823" y="855"/>
                  </a:cubicBezTo>
                  <a:cubicBezTo>
                    <a:pt x="1819" y="845"/>
                    <a:pt x="1786" y="812"/>
                    <a:pt x="1763" y="829"/>
                  </a:cubicBezTo>
                  <a:cubicBezTo>
                    <a:pt x="1740" y="845"/>
                    <a:pt x="1715" y="863"/>
                    <a:pt x="1684" y="851"/>
                  </a:cubicBezTo>
                  <a:cubicBezTo>
                    <a:pt x="1653" y="838"/>
                    <a:pt x="1612" y="802"/>
                    <a:pt x="1589" y="817"/>
                  </a:cubicBezTo>
                  <a:cubicBezTo>
                    <a:pt x="1566" y="833"/>
                    <a:pt x="1479" y="873"/>
                    <a:pt x="1452" y="852"/>
                  </a:cubicBezTo>
                  <a:cubicBezTo>
                    <a:pt x="1424" y="831"/>
                    <a:pt x="1362" y="833"/>
                    <a:pt x="1362" y="792"/>
                  </a:cubicBezTo>
                  <a:cubicBezTo>
                    <a:pt x="1362" y="752"/>
                    <a:pt x="1378" y="733"/>
                    <a:pt x="1344" y="713"/>
                  </a:cubicBezTo>
                  <a:cubicBezTo>
                    <a:pt x="1309" y="694"/>
                    <a:pt x="1293" y="677"/>
                    <a:pt x="1291" y="655"/>
                  </a:cubicBezTo>
                  <a:cubicBezTo>
                    <a:pt x="1289" y="633"/>
                    <a:pt x="1276" y="596"/>
                    <a:pt x="1258" y="584"/>
                  </a:cubicBezTo>
                  <a:cubicBezTo>
                    <a:pt x="1240" y="571"/>
                    <a:pt x="1149" y="507"/>
                    <a:pt x="1154" y="491"/>
                  </a:cubicBezTo>
                  <a:cubicBezTo>
                    <a:pt x="1158" y="474"/>
                    <a:pt x="1176" y="462"/>
                    <a:pt x="1152" y="444"/>
                  </a:cubicBezTo>
                  <a:cubicBezTo>
                    <a:pt x="1127" y="425"/>
                    <a:pt x="1093" y="417"/>
                    <a:pt x="1093" y="399"/>
                  </a:cubicBezTo>
                  <a:cubicBezTo>
                    <a:pt x="1093" y="381"/>
                    <a:pt x="1103" y="366"/>
                    <a:pt x="1073" y="352"/>
                  </a:cubicBezTo>
                  <a:cubicBezTo>
                    <a:pt x="1044" y="338"/>
                    <a:pt x="1029" y="328"/>
                    <a:pt x="1029" y="298"/>
                  </a:cubicBezTo>
                  <a:cubicBezTo>
                    <a:pt x="1029" y="267"/>
                    <a:pt x="1004" y="256"/>
                    <a:pt x="991" y="245"/>
                  </a:cubicBezTo>
                  <a:cubicBezTo>
                    <a:pt x="978" y="234"/>
                    <a:pt x="985" y="204"/>
                    <a:pt x="954" y="188"/>
                  </a:cubicBezTo>
                  <a:cubicBezTo>
                    <a:pt x="923" y="171"/>
                    <a:pt x="896" y="181"/>
                    <a:pt x="896" y="159"/>
                  </a:cubicBezTo>
                  <a:cubicBezTo>
                    <a:pt x="896" y="136"/>
                    <a:pt x="900" y="121"/>
                    <a:pt x="870" y="111"/>
                  </a:cubicBezTo>
                  <a:cubicBezTo>
                    <a:pt x="841" y="102"/>
                    <a:pt x="826" y="97"/>
                    <a:pt x="814" y="82"/>
                  </a:cubicBezTo>
                  <a:cubicBezTo>
                    <a:pt x="803" y="67"/>
                    <a:pt x="773" y="56"/>
                    <a:pt x="759" y="49"/>
                  </a:cubicBezTo>
                  <a:cubicBezTo>
                    <a:pt x="744" y="42"/>
                    <a:pt x="724" y="32"/>
                    <a:pt x="711" y="39"/>
                  </a:cubicBezTo>
                  <a:cubicBezTo>
                    <a:pt x="698" y="46"/>
                    <a:pt x="669" y="72"/>
                    <a:pt x="641" y="75"/>
                  </a:cubicBezTo>
                  <a:cubicBezTo>
                    <a:pt x="613" y="78"/>
                    <a:pt x="569" y="56"/>
                    <a:pt x="539" y="42"/>
                  </a:cubicBezTo>
                  <a:cubicBezTo>
                    <a:pt x="510" y="28"/>
                    <a:pt x="447" y="0"/>
                    <a:pt x="426" y="6"/>
                  </a:cubicBezTo>
                  <a:cubicBezTo>
                    <a:pt x="405" y="11"/>
                    <a:pt x="344" y="17"/>
                    <a:pt x="330" y="32"/>
                  </a:cubicBezTo>
                  <a:cubicBezTo>
                    <a:pt x="315" y="47"/>
                    <a:pt x="285" y="67"/>
                    <a:pt x="246" y="68"/>
                  </a:cubicBezTo>
                  <a:cubicBezTo>
                    <a:pt x="207" y="70"/>
                    <a:pt x="164" y="68"/>
                    <a:pt x="138" y="88"/>
                  </a:cubicBezTo>
                  <a:cubicBezTo>
                    <a:pt x="112" y="107"/>
                    <a:pt x="97" y="120"/>
                    <a:pt x="64" y="131"/>
                  </a:cubicBezTo>
                  <a:cubicBezTo>
                    <a:pt x="56" y="134"/>
                    <a:pt x="46" y="136"/>
                    <a:pt x="36" y="137"/>
                  </a:cubicBezTo>
                  <a:cubicBezTo>
                    <a:pt x="45" y="150"/>
                    <a:pt x="55" y="162"/>
                    <a:pt x="66" y="170"/>
                  </a:cubicBezTo>
                  <a:cubicBezTo>
                    <a:pt x="105" y="198"/>
                    <a:pt x="131" y="209"/>
                    <a:pt x="99" y="248"/>
                  </a:cubicBezTo>
                  <a:cubicBezTo>
                    <a:pt x="66" y="286"/>
                    <a:pt x="0" y="342"/>
                    <a:pt x="66" y="353"/>
                  </a:cubicBezTo>
                  <a:cubicBezTo>
                    <a:pt x="131" y="364"/>
                    <a:pt x="138" y="353"/>
                    <a:pt x="164" y="387"/>
                  </a:cubicBezTo>
                  <a:cubicBezTo>
                    <a:pt x="190" y="420"/>
                    <a:pt x="210" y="403"/>
                    <a:pt x="210" y="370"/>
                  </a:cubicBezTo>
                  <a:cubicBezTo>
                    <a:pt x="210" y="336"/>
                    <a:pt x="236" y="309"/>
                    <a:pt x="256" y="336"/>
                  </a:cubicBezTo>
                  <a:cubicBezTo>
                    <a:pt x="275" y="364"/>
                    <a:pt x="282" y="375"/>
                    <a:pt x="308" y="375"/>
                  </a:cubicBezTo>
                  <a:cubicBezTo>
                    <a:pt x="334" y="375"/>
                    <a:pt x="348" y="353"/>
                    <a:pt x="348" y="403"/>
                  </a:cubicBezTo>
                  <a:cubicBezTo>
                    <a:pt x="348" y="453"/>
                    <a:pt x="361" y="492"/>
                    <a:pt x="367" y="526"/>
                  </a:cubicBezTo>
                  <a:cubicBezTo>
                    <a:pt x="374" y="559"/>
                    <a:pt x="400" y="598"/>
                    <a:pt x="452" y="603"/>
                  </a:cubicBezTo>
                  <a:cubicBezTo>
                    <a:pt x="505" y="609"/>
                    <a:pt x="570" y="587"/>
                    <a:pt x="623" y="576"/>
                  </a:cubicBezTo>
                  <a:cubicBezTo>
                    <a:pt x="675" y="564"/>
                    <a:pt x="701" y="581"/>
                    <a:pt x="741" y="542"/>
                  </a:cubicBezTo>
                  <a:cubicBezTo>
                    <a:pt x="780" y="503"/>
                    <a:pt x="773" y="448"/>
                    <a:pt x="839" y="453"/>
                  </a:cubicBezTo>
                  <a:cubicBezTo>
                    <a:pt x="905" y="459"/>
                    <a:pt x="878" y="474"/>
                    <a:pt x="920" y="505"/>
                  </a:cubicBezTo>
                  <a:cubicBezTo>
                    <a:pt x="961" y="537"/>
                    <a:pt x="1007" y="546"/>
                    <a:pt x="1009" y="574"/>
                  </a:cubicBezTo>
                  <a:cubicBezTo>
                    <a:pt x="1012" y="602"/>
                    <a:pt x="963" y="620"/>
                    <a:pt x="981" y="648"/>
                  </a:cubicBezTo>
                  <a:cubicBezTo>
                    <a:pt x="998" y="676"/>
                    <a:pt x="983" y="705"/>
                    <a:pt x="970" y="724"/>
                  </a:cubicBezTo>
                  <a:cubicBezTo>
                    <a:pt x="957" y="742"/>
                    <a:pt x="933" y="789"/>
                    <a:pt x="937" y="831"/>
                  </a:cubicBezTo>
                  <a:cubicBezTo>
                    <a:pt x="942" y="874"/>
                    <a:pt x="931" y="920"/>
                    <a:pt x="955" y="948"/>
                  </a:cubicBezTo>
                  <a:cubicBezTo>
                    <a:pt x="979" y="976"/>
                    <a:pt x="990" y="1050"/>
                    <a:pt x="961" y="1069"/>
                  </a:cubicBezTo>
                  <a:cubicBezTo>
                    <a:pt x="933" y="1087"/>
                    <a:pt x="911" y="1094"/>
                    <a:pt x="911" y="1119"/>
                  </a:cubicBezTo>
                  <a:cubicBezTo>
                    <a:pt x="911" y="1143"/>
                    <a:pt x="891" y="1174"/>
                    <a:pt x="896" y="1204"/>
                  </a:cubicBezTo>
                  <a:cubicBezTo>
                    <a:pt x="900" y="1233"/>
                    <a:pt x="896" y="1269"/>
                    <a:pt x="911" y="1289"/>
                  </a:cubicBezTo>
                  <a:cubicBezTo>
                    <a:pt x="926" y="1309"/>
                    <a:pt x="933" y="1367"/>
                    <a:pt x="911" y="1356"/>
                  </a:cubicBezTo>
                  <a:cubicBezTo>
                    <a:pt x="889" y="1345"/>
                    <a:pt x="867" y="1335"/>
                    <a:pt x="861" y="1309"/>
                  </a:cubicBezTo>
                  <a:cubicBezTo>
                    <a:pt x="854" y="1283"/>
                    <a:pt x="861" y="1239"/>
                    <a:pt x="835" y="1269"/>
                  </a:cubicBezTo>
                  <a:cubicBezTo>
                    <a:pt x="808" y="1298"/>
                    <a:pt x="806" y="1326"/>
                    <a:pt x="771" y="1365"/>
                  </a:cubicBezTo>
                  <a:cubicBezTo>
                    <a:pt x="736" y="1404"/>
                    <a:pt x="686" y="1452"/>
                    <a:pt x="666" y="1484"/>
                  </a:cubicBezTo>
                  <a:cubicBezTo>
                    <a:pt x="647" y="1515"/>
                    <a:pt x="629" y="1545"/>
                    <a:pt x="605" y="1563"/>
                  </a:cubicBezTo>
                  <a:cubicBezTo>
                    <a:pt x="581" y="1582"/>
                    <a:pt x="562" y="1624"/>
                    <a:pt x="579" y="1645"/>
                  </a:cubicBezTo>
                  <a:cubicBezTo>
                    <a:pt x="597" y="1665"/>
                    <a:pt x="640" y="1684"/>
                    <a:pt x="658" y="1699"/>
                  </a:cubicBezTo>
                  <a:cubicBezTo>
                    <a:pt x="675" y="1713"/>
                    <a:pt x="673" y="1721"/>
                    <a:pt x="721" y="1730"/>
                  </a:cubicBezTo>
                  <a:cubicBezTo>
                    <a:pt x="769" y="1739"/>
                    <a:pt x="776" y="1750"/>
                    <a:pt x="806" y="1732"/>
                  </a:cubicBezTo>
                  <a:cubicBezTo>
                    <a:pt x="837" y="1713"/>
                    <a:pt x="843" y="1712"/>
                    <a:pt x="843" y="1728"/>
                  </a:cubicBezTo>
                  <a:cubicBezTo>
                    <a:pt x="843" y="1745"/>
                    <a:pt x="835" y="1767"/>
                    <a:pt x="813" y="1775"/>
                  </a:cubicBezTo>
                  <a:cubicBezTo>
                    <a:pt x="791" y="1782"/>
                    <a:pt x="736" y="1776"/>
                    <a:pt x="730" y="1799"/>
                  </a:cubicBezTo>
                  <a:cubicBezTo>
                    <a:pt x="723" y="1821"/>
                    <a:pt x="712" y="1849"/>
                    <a:pt x="728" y="1864"/>
                  </a:cubicBezTo>
                  <a:cubicBezTo>
                    <a:pt x="739" y="1875"/>
                    <a:pt x="763" y="1878"/>
                    <a:pt x="766" y="1889"/>
                  </a:cubicBezTo>
                  <a:cubicBezTo>
                    <a:pt x="776" y="1887"/>
                    <a:pt x="789" y="1883"/>
                    <a:pt x="806" y="1879"/>
                  </a:cubicBezTo>
                  <a:cubicBezTo>
                    <a:pt x="852" y="1868"/>
                    <a:pt x="849" y="1854"/>
                    <a:pt x="878" y="1854"/>
                  </a:cubicBezTo>
                  <a:cubicBezTo>
                    <a:pt x="908" y="1854"/>
                    <a:pt x="918" y="1838"/>
                    <a:pt x="934" y="1865"/>
                  </a:cubicBezTo>
                  <a:cubicBezTo>
                    <a:pt x="950" y="1893"/>
                    <a:pt x="937" y="1932"/>
                    <a:pt x="970" y="1949"/>
                  </a:cubicBezTo>
                  <a:cubicBezTo>
                    <a:pt x="1003" y="1965"/>
                    <a:pt x="1000" y="1979"/>
                    <a:pt x="1039" y="2007"/>
                  </a:cubicBezTo>
                  <a:cubicBezTo>
                    <a:pt x="1078" y="2035"/>
                    <a:pt x="1085" y="2041"/>
                    <a:pt x="1114" y="2027"/>
                  </a:cubicBezTo>
                  <a:cubicBezTo>
                    <a:pt x="1144" y="2013"/>
                    <a:pt x="1144" y="1988"/>
                    <a:pt x="1176" y="1999"/>
                  </a:cubicBezTo>
                  <a:cubicBezTo>
                    <a:pt x="1209" y="2010"/>
                    <a:pt x="1212" y="2021"/>
                    <a:pt x="1242" y="2004"/>
                  </a:cubicBezTo>
                  <a:cubicBezTo>
                    <a:pt x="1271" y="1988"/>
                    <a:pt x="1304" y="1952"/>
                    <a:pt x="1330" y="1982"/>
                  </a:cubicBezTo>
                  <a:cubicBezTo>
                    <a:pt x="1357" y="2013"/>
                    <a:pt x="1334" y="2021"/>
                    <a:pt x="1383" y="2024"/>
                  </a:cubicBezTo>
                  <a:cubicBezTo>
                    <a:pt x="1432" y="2027"/>
                    <a:pt x="1435" y="2038"/>
                    <a:pt x="1455" y="2018"/>
                  </a:cubicBezTo>
                  <a:cubicBezTo>
                    <a:pt x="1475" y="1999"/>
                    <a:pt x="1475" y="1985"/>
                    <a:pt x="1520" y="1990"/>
                  </a:cubicBezTo>
                  <a:cubicBezTo>
                    <a:pt x="1566" y="1996"/>
                    <a:pt x="1609" y="2013"/>
                    <a:pt x="1625" y="2027"/>
                  </a:cubicBezTo>
                  <a:cubicBezTo>
                    <a:pt x="1642" y="2041"/>
                    <a:pt x="1632" y="2054"/>
                    <a:pt x="1619" y="2077"/>
                  </a:cubicBezTo>
                  <a:cubicBezTo>
                    <a:pt x="1606" y="2099"/>
                    <a:pt x="1619" y="2116"/>
                    <a:pt x="1651" y="2118"/>
                  </a:cubicBezTo>
                  <a:cubicBezTo>
                    <a:pt x="1684" y="2121"/>
                    <a:pt x="1737" y="2077"/>
                    <a:pt x="1746" y="2107"/>
                  </a:cubicBezTo>
                  <a:cubicBezTo>
                    <a:pt x="1756" y="2138"/>
                    <a:pt x="1766" y="2166"/>
                    <a:pt x="1796" y="2188"/>
                  </a:cubicBezTo>
                  <a:cubicBezTo>
                    <a:pt x="1825" y="2210"/>
                    <a:pt x="1851" y="2210"/>
                    <a:pt x="1868" y="2210"/>
                  </a:cubicBezTo>
                  <a:cubicBezTo>
                    <a:pt x="1884" y="2210"/>
                    <a:pt x="1907" y="2199"/>
                    <a:pt x="1891" y="2180"/>
                  </a:cubicBezTo>
                  <a:cubicBezTo>
                    <a:pt x="1874" y="2160"/>
                    <a:pt x="1851" y="2149"/>
                    <a:pt x="1855" y="2118"/>
                  </a:cubicBezTo>
                  <a:cubicBezTo>
                    <a:pt x="1858" y="2088"/>
                    <a:pt x="1874" y="2068"/>
                    <a:pt x="1914" y="2071"/>
                  </a:cubicBezTo>
                  <a:cubicBezTo>
                    <a:pt x="1953" y="2074"/>
                    <a:pt x="1943" y="2082"/>
                    <a:pt x="1943" y="2107"/>
                  </a:cubicBezTo>
                  <a:cubicBezTo>
                    <a:pt x="1943" y="2132"/>
                    <a:pt x="1923" y="2149"/>
                    <a:pt x="1946" y="2166"/>
                  </a:cubicBezTo>
                  <a:cubicBezTo>
                    <a:pt x="1969" y="2182"/>
                    <a:pt x="1976" y="2185"/>
                    <a:pt x="1976" y="2205"/>
                  </a:cubicBezTo>
                  <a:cubicBezTo>
                    <a:pt x="1976" y="2224"/>
                    <a:pt x="2041" y="2221"/>
                    <a:pt x="2054" y="2252"/>
                  </a:cubicBezTo>
                  <a:cubicBezTo>
                    <a:pt x="2068" y="2282"/>
                    <a:pt x="2081" y="2299"/>
                    <a:pt x="2110" y="2296"/>
                  </a:cubicBezTo>
                  <a:cubicBezTo>
                    <a:pt x="2140" y="2293"/>
                    <a:pt x="2159" y="2288"/>
                    <a:pt x="2156" y="2255"/>
                  </a:cubicBezTo>
                  <a:cubicBezTo>
                    <a:pt x="2153" y="2221"/>
                    <a:pt x="2136" y="2207"/>
                    <a:pt x="2169" y="2199"/>
                  </a:cubicBezTo>
                  <a:cubicBezTo>
                    <a:pt x="2202" y="2191"/>
                    <a:pt x="2228" y="2196"/>
                    <a:pt x="2241" y="2168"/>
                  </a:cubicBezTo>
                  <a:cubicBezTo>
                    <a:pt x="2254" y="2141"/>
                    <a:pt x="2274" y="2110"/>
                    <a:pt x="2284" y="2138"/>
                  </a:cubicBezTo>
                  <a:cubicBezTo>
                    <a:pt x="2294" y="2166"/>
                    <a:pt x="2297" y="2177"/>
                    <a:pt x="2330" y="2152"/>
                  </a:cubicBezTo>
                  <a:cubicBezTo>
                    <a:pt x="2362" y="2127"/>
                    <a:pt x="2336" y="2096"/>
                    <a:pt x="2376" y="2152"/>
                  </a:cubicBezTo>
                  <a:cubicBezTo>
                    <a:pt x="2415" y="2207"/>
                    <a:pt x="2395" y="2202"/>
                    <a:pt x="2431" y="2205"/>
                  </a:cubicBezTo>
                  <a:cubicBezTo>
                    <a:pt x="2460" y="2207"/>
                    <a:pt x="2517" y="2214"/>
                    <a:pt x="2587" y="2205"/>
                  </a:cubicBezTo>
                  <a:cubicBezTo>
                    <a:pt x="2577" y="2174"/>
                    <a:pt x="2552" y="2158"/>
                    <a:pt x="2552" y="2128"/>
                  </a:cubicBezTo>
                  <a:cubicBezTo>
                    <a:pt x="2552" y="2095"/>
                    <a:pt x="2539" y="2018"/>
                    <a:pt x="2507" y="1988"/>
                  </a:cubicBezTo>
                  <a:cubicBezTo>
                    <a:pt x="2474" y="1957"/>
                    <a:pt x="2457" y="1927"/>
                    <a:pt x="2438" y="1908"/>
                  </a:cubicBezTo>
                  <a:cubicBezTo>
                    <a:pt x="2418" y="1890"/>
                    <a:pt x="2405" y="1863"/>
                    <a:pt x="2436" y="1854"/>
                  </a:cubicBezTo>
                  <a:cubicBezTo>
                    <a:pt x="2467" y="1846"/>
                    <a:pt x="2510" y="1835"/>
                    <a:pt x="2515" y="1808"/>
                  </a:cubicBezTo>
                  <a:cubicBezTo>
                    <a:pt x="2520" y="1782"/>
                    <a:pt x="2533" y="1715"/>
                    <a:pt x="2559" y="1718"/>
                  </a:cubicBezTo>
                  <a:cubicBezTo>
                    <a:pt x="2585" y="1721"/>
                    <a:pt x="2621" y="1736"/>
                    <a:pt x="2661" y="1735"/>
                  </a:cubicBezTo>
                  <a:cubicBezTo>
                    <a:pt x="2700" y="1733"/>
                    <a:pt x="2718" y="1738"/>
                    <a:pt x="2733" y="1728"/>
                  </a:cubicBezTo>
                  <a:cubicBezTo>
                    <a:pt x="2747" y="1718"/>
                    <a:pt x="2751" y="1722"/>
                    <a:pt x="2760" y="1726"/>
                  </a:cubicBezTo>
                  <a:cubicBezTo>
                    <a:pt x="2770" y="1731"/>
                    <a:pt x="2806" y="1735"/>
                    <a:pt x="2810" y="1722"/>
                  </a:cubicBezTo>
                  <a:cubicBezTo>
                    <a:pt x="2813" y="1710"/>
                    <a:pt x="2811" y="1672"/>
                    <a:pt x="2800" y="1657"/>
                  </a:cubicBezTo>
                  <a:cubicBezTo>
                    <a:pt x="2788" y="1642"/>
                    <a:pt x="2775" y="1617"/>
                    <a:pt x="2795" y="1603"/>
                  </a:cubicBezTo>
                  <a:cubicBezTo>
                    <a:pt x="2815" y="1589"/>
                    <a:pt x="2847" y="1560"/>
                    <a:pt x="2831" y="1542"/>
                  </a:cubicBezTo>
                  <a:cubicBezTo>
                    <a:pt x="2815" y="1523"/>
                    <a:pt x="2805" y="1512"/>
                    <a:pt x="2824" y="1501"/>
                  </a:cubicBezTo>
                  <a:cubicBezTo>
                    <a:pt x="2844" y="1490"/>
                    <a:pt x="2857" y="1482"/>
                    <a:pt x="2851" y="1465"/>
                  </a:cubicBezTo>
                  <a:cubicBezTo>
                    <a:pt x="2844" y="1448"/>
                    <a:pt x="2813" y="1430"/>
                    <a:pt x="2839" y="1415"/>
                  </a:cubicBezTo>
                  <a:cubicBezTo>
                    <a:pt x="2865" y="1400"/>
                    <a:pt x="2877" y="1380"/>
                    <a:pt x="2857" y="1357"/>
                  </a:cubicBezTo>
                  <a:cubicBezTo>
                    <a:pt x="2837" y="1333"/>
                    <a:pt x="2811" y="1326"/>
                    <a:pt x="2836" y="1308"/>
                  </a:cubicBezTo>
                  <a:cubicBezTo>
                    <a:pt x="2860" y="1290"/>
                    <a:pt x="2851" y="1266"/>
                    <a:pt x="2836" y="1247"/>
                  </a:cubicBezTo>
                  <a:cubicBezTo>
                    <a:pt x="2821" y="1227"/>
                    <a:pt x="2826" y="1211"/>
                    <a:pt x="2834" y="1193"/>
                  </a:cubicBezTo>
                  <a:cubicBezTo>
                    <a:pt x="2842" y="1175"/>
                    <a:pt x="2859" y="1163"/>
                    <a:pt x="2841" y="1148"/>
                  </a:cubicBezTo>
                  <a:cubicBezTo>
                    <a:pt x="2823" y="1133"/>
                    <a:pt x="2810" y="1104"/>
                    <a:pt x="2828" y="1088"/>
                  </a:cubicBezTo>
                  <a:cubicBezTo>
                    <a:pt x="2846" y="1073"/>
                    <a:pt x="2854" y="1065"/>
                    <a:pt x="2870" y="1063"/>
                  </a:cubicBezTo>
                  <a:cubicBezTo>
                    <a:pt x="2887" y="1062"/>
                    <a:pt x="2901" y="1036"/>
                    <a:pt x="2901" y="1013"/>
                  </a:cubicBezTo>
                  <a:cubicBezTo>
                    <a:pt x="2901" y="991"/>
                    <a:pt x="2900" y="977"/>
                    <a:pt x="2867" y="958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" name="Freeform 10"/>
            <p:cNvSpPr>
              <a:spLocks/>
            </p:cNvSpPr>
            <p:nvPr/>
          </p:nvSpPr>
          <p:spPr bwMode="auto">
            <a:xfrm>
              <a:off x="4491" y="1174"/>
              <a:ext cx="677" cy="606"/>
            </a:xfrm>
            <a:custGeom>
              <a:avLst/>
              <a:gdLst>
                <a:gd name="T0" fmla="*/ 1410 w 1462"/>
                <a:gd name="T1" fmla="*/ 456 h 1310"/>
                <a:gd name="T2" fmla="*/ 1321 w 1462"/>
                <a:gd name="T3" fmla="*/ 328 h 1310"/>
                <a:gd name="T4" fmla="*/ 1288 w 1462"/>
                <a:gd name="T5" fmla="*/ 242 h 1310"/>
                <a:gd name="T6" fmla="*/ 1187 w 1462"/>
                <a:gd name="T7" fmla="*/ 148 h 1310"/>
                <a:gd name="T8" fmla="*/ 1125 w 1462"/>
                <a:gd name="T9" fmla="*/ 78 h 1310"/>
                <a:gd name="T10" fmla="*/ 1056 w 1462"/>
                <a:gd name="T11" fmla="*/ 117 h 1310"/>
                <a:gd name="T12" fmla="*/ 1013 w 1462"/>
                <a:gd name="T13" fmla="*/ 61 h 1310"/>
                <a:gd name="T14" fmla="*/ 935 w 1462"/>
                <a:gd name="T15" fmla="*/ 31 h 1310"/>
                <a:gd name="T16" fmla="*/ 895 w 1462"/>
                <a:gd name="T17" fmla="*/ 22 h 1310"/>
                <a:gd name="T18" fmla="*/ 886 w 1462"/>
                <a:gd name="T19" fmla="*/ 47 h 1310"/>
                <a:gd name="T20" fmla="*/ 891 w 1462"/>
                <a:gd name="T21" fmla="*/ 57 h 1310"/>
                <a:gd name="T22" fmla="*/ 873 w 1462"/>
                <a:gd name="T23" fmla="*/ 127 h 1310"/>
                <a:gd name="T24" fmla="*/ 817 w 1462"/>
                <a:gd name="T25" fmla="*/ 172 h 1310"/>
                <a:gd name="T26" fmla="*/ 775 w 1462"/>
                <a:gd name="T27" fmla="*/ 227 h 1310"/>
                <a:gd name="T28" fmla="*/ 718 w 1462"/>
                <a:gd name="T29" fmla="*/ 236 h 1310"/>
                <a:gd name="T30" fmla="*/ 668 w 1462"/>
                <a:gd name="T31" fmla="*/ 227 h 1310"/>
                <a:gd name="T32" fmla="*/ 640 w 1462"/>
                <a:gd name="T33" fmla="*/ 327 h 1310"/>
                <a:gd name="T34" fmla="*/ 557 w 1462"/>
                <a:gd name="T35" fmla="*/ 316 h 1310"/>
                <a:gd name="T36" fmla="*/ 493 w 1462"/>
                <a:gd name="T37" fmla="*/ 338 h 1310"/>
                <a:gd name="T38" fmla="*/ 454 w 1462"/>
                <a:gd name="T39" fmla="*/ 355 h 1310"/>
                <a:gd name="T40" fmla="*/ 413 w 1462"/>
                <a:gd name="T41" fmla="*/ 414 h 1310"/>
                <a:gd name="T42" fmla="*/ 356 w 1462"/>
                <a:gd name="T43" fmla="*/ 444 h 1310"/>
                <a:gd name="T44" fmla="*/ 290 w 1462"/>
                <a:gd name="T45" fmla="*/ 520 h 1310"/>
                <a:gd name="T46" fmla="*/ 233 w 1462"/>
                <a:gd name="T47" fmla="*/ 583 h 1310"/>
                <a:gd name="T48" fmla="*/ 179 w 1462"/>
                <a:gd name="T49" fmla="*/ 505 h 1310"/>
                <a:gd name="T50" fmla="*/ 107 w 1462"/>
                <a:gd name="T51" fmla="*/ 461 h 1310"/>
                <a:gd name="T52" fmla="*/ 65 w 1462"/>
                <a:gd name="T53" fmla="*/ 468 h 1310"/>
                <a:gd name="T54" fmla="*/ 61 w 1462"/>
                <a:gd name="T55" fmla="*/ 516 h 1310"/>
                <a:gd name="T56" fmla="*/ 78 w 1462"/>
                <a:gd name="T57" fmla="*/ 555 h 1310"/>
                <a:gd name="T58" fmla="*/ 94 w 1462"/>
                <a:gd name="T59" fmla="*/ 633 h 1310"/>
                <a:gd name="T60" fmla="*/ 107 w 1462"/>
                <a:gd name="T61" fmla="*/ 705 h 1310"/>
                <a:gd name="T62" fmla="*/ 54 w 1462"/>
                <a:gd name="T63" fmla="*/ 791 h 1310"/>
                <a:gd name="T64" fmla="*/ 24 w 1462"/>
                <a:gd name="T65" fmla="*/ 854 h 1310"/>
                <a:gd name="T66" fmla="*/ 94 w 1462"/>
                <a:gd name="T67" fmla="*/ 894 h 1310"/>
                <a:gd name="T68" fmla="*/ 198 w 1462"/>
                <a:gd name="T69" fmla="*/ 930 h 1310"/>
                <a:gd name="T70" fmla="*/ 295 w 1462"/>
                <a:gd name="T71" fmla="*/ 1052 h 1310"/>
                <a:gd name="T72" fmla="*/ 415 w 1462"/>
                <a:gd name="T73" fmla="*/ 928 h 1310"/>
                <a:gd name="T74" fmla="*/ 550 w 1462"/>
                <a:gd name="T75" fmla="*/ 757 h 1310"/>
                <a:gd name="T76" fmla="*/ 716 w 1462"/>
                <a:gd name="T77" fmla="*/ 791 h 1310"/>
                <a:gd name="T78" fmla="*/ 764 w 1462"/>
                <a:gd name="T79" fmla="*/ 872 h 1310"/>
                <a:gd name="T80" fmla="*/ 672 w 1462"/>
                <a:gd name="T81" fmla="*/ 991 h 1310"/>
                <a:gd name="T82" fmla="*/ 633 w 1462"/>
                <a:gd name="T83" fmla="*/ 1091 h 1310"/>
                <a:gd name="T84" fmla="*/ 699 w 1462"/>
                <a:gd name="T85" fmla="*/ 1139 h 1310"/>
                <a:gd name="T86" fmla="*/ 725 w 1462"/>
                <a:gd name="T87" fmla="*/ 1161 h 1310"/>
                <a:gd name="T88" fmla="*/ 664 w 1462"/>
                <a:gd name="T89" fmla="*/ 1228 h 1310"/>
                <a:gd name="T90" fmla="*/ 620 w 1462"/>
                <a:gd name="T91" fmla="*/ 1284 h 1310"/>
                <a:gd name="T92" fmla="*/ 712 w 1462"/>
                <a:gd name="T93" fmla="*/ 1269 h 1310"/>
                <a:gd name="T94" fmla="*/ 830 w 1462"/>
                <a:gd name="T95" fmla="*/ 1161 h 1310"/>
                <a:gd name="T96" fmla="*/ 956 w 1462"/>
                <a:gd name="T97" fmla="*/ 1028 h 1310"/>
                <a:gd name="T98" fmla="*/ 1061 w 1462"/>
                <a:gd name="T99" fmla="*/ 965 h 1310"/>
                <a:gd name="T100" fmla="*/ 1170 w 1462"/>
                <a:gd name="T101" fmla="*/ 920 h 1310"/>
                <a:gd name="T102" fmla="*/ 1239 w 1462"/>
                <a:gd name="T103" fmla="*/ 884 h 1310"/>
                <a:gd name="T104" fmla="*/ 1262 w 1462"/>
                <a:gd name="T105" fmla="*/ 802 h 1310"/>
                <a:gd name="T106" fmla="*/ 1411 w 1462"/>
                <a:gd name="T107" fmla="*/ 657 h 1310"/>
                <a:gd name="T108" fmla="*/ 1460 w 1462"/>
                <a:gd name="T109" fmla="*/ 630 h 1310"/>
                <a:gd name="T110" fmla="*/ 1462 w 1462"/>
                <a:gd name="T111" fmla="*/ 528 h 1310"/>
                <a:gd name="T112" fmla="*/ 1410 w 1462"/>
                <a:gd name="T113" fmla="*/ 456 h 1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2" h="1310">
                  <a:moveTo>
                    <a:pt x="1410" y="456"/>
                  </a:moveTo>
                  <a:cubicBezTo>
                    <a:pt x="1374" y="428"/>
                    <a:pt x="1321" y="384"/>
                    <a:pt x="1321" y="328"/>
                  </a:cubicBezTo>
                  <a:cubicBezTo>
                    <a:pt x="1321" y="273"/>
                    <a:pt x="1324" y="275"/>
                    <a:pt x="1288" y="242"/>
                  </a:cubicBezTo>
                  <a:cubicBezTo>
                    <a:pt x="1252" y="209"/>
                    <a:pt x="1213" y="195"/>
                    <a:pt x="1187" y="148"/>
                  </a:cubicBezTo>
                  <a:cubicBezTo>
                    <a:pt x="1161" y="100"/>
                    <a:pt x="1144" y="78"/>
                    <a:pt x="1125" y="78"/>
                  </a:cubicBezTo>
                  <a:cubicBezTo>
                    <a:pt x="1105" y="78"/>
                    <a:pt x="1098" y="173"/>
                    <a:pt x="1056" y="117"/>
                  </a:cubicBezTo>
                  <a:cubicBezTo>
                    <a:pt x="1013" y="61"/>
                    <a:pt x="1056" y="67"/>
                    <a:pt x="1013" y="61"/>
                  </a:cubicBezTo>
                  <a:cubicBezTo>
                    <a:pt x="971" y="56"/>
                    <a:pt x="957" y="47"/>
                    <a:pt x="935" y="31"/>
                  </a:cubicBezTo>
                  <a:cubicBezTo>
                    <a:pt x="912" y="14"/>
                    <a:pt x="908" y="0"/>
                    <a:pt x="895" y="22"/>
                  </a:cubicBezTo>
                  <a:cubicBezTo>
                    <a:pt x="890" y="31"/>
                    <a:pt x="888" y="40"/>
                    <a:pt x="886" y="47"/>
                  </a:cubicBezTo>
                  <a:cubicBezTo>
                    <a:pt x="888" y="49"/>
                    <a:pt x="890" y="52"/>
                    <a:pt x="891" y="57"/>
                  </a:cubicBezTo>
                  <a:cubicBezTo>
                    <a:pt x="895" y="81"/>
                    <a:pt x="908" y="105"/>
                    <a:pt x="873" y="127"/>
                  </a:cubicBezTo>
                  <a:cubicBezTo>
                    <a:pt x="838" y="149"/>
                    <a:pt x="817" y="140"/>
                    <a:pt x="817" y="172"/>
                  </a:cubicBezTo>
                  <a:cubicBezTo>
                    <a:pt x="817" y="203"/>
                    <a:pt x="797" y="222"/>
                    <a:pt x="775" y="227"/>
                  </a:cubicBezTo>
                  <a:cubicBezTo>
                    <a:pt x="753" y="233"/>
                    <a:pt x="734" y="246"/>
                    <a:pt x="718" y="236"/>
                  </a:cubicBezTo>
                  <a:cubicBezTo>
                    <a:pt x="703" y="227"/>
                    <a:pt x="675" y="211"/>
                    <a:pt x="668" y="227"/>
                  </a:cubicBezTo>
                  <a:cubicBezTo>
                    <a:pt x="662" y="244"/>
                    <a:pt x="681" y="331"/>
                    <a:pt x="640" y="327"/>
                  </a:cubicBezTo>
                  <a:cubicBezTo>
                    <a:pt x="598" y="324"/>
                    <a:pt x="576" y="285"/>
                    <a:pt x="557" y="316"/>
                  </a:cubicBezTo>
                  <a:cubicBezTo>
                    <a:pt x="537" y="348"/>
                    <a:pt x="513" y="338"/>
                    <a:pt x="493" y="338"/>
                  </a:cubicBezTo>
                  <a:cubicBezTo>
                    <a:pt x="474" y="338"/>
                    <a:pt x="458" y="331"/>
                    <a:pt x="454" y="355"/>
                  </a:cubicBezTo>
                  <a:cubicBezTo>
                    <a:pt x="450" y="379"/>
                    <a:pt x="441" y="401"/>
                    <a:pt x="413" y="414"/>
                  </a:cubicBezTo>
                  <a:cubicBezTo>
                    <a:pt x="384" y="427"/>
                    <a:pt x="373" y="424"/>
                    <a:pt x="356" y="444"/>
                  </a:cubicBezTo>
                  <a:cubicBezTo>
                    <a:pt x="338" y="464"/>
                    <a:pt x="297" y="494"/>
                    <a:pt x="290" y="520"/>
                  </a:cubicBezTo>
                  <a:cubicBezTo>
                    <a:pt x="284" y="546"/>
                    <a:pt x="260" y="620"/>
                    <a:pt x="233" y="583"/>
                  </a:cubicBezTo>
                  <a:cubicBezTo>
                    <a:pt x="207" y="546"/>
                    <a:pt x="209" y="535"/>
                    <a:pt x="179" y="505"/>
                  </a:cubicBezTo>
                  <a:cubicBezTo>
                    <a:pt x="148" y="476"/>
                    <a:pt x="124" y="487"/>
                    <a:pt x="107" y="461"/>
                  </a:cubicBezTo>
                  <a:cubicBezTo>
                    <a:pt x="89" y="435"/>
                    <a:pt x="72" y="453"/>
                    <a:pt x="65" y="468"/>
                  </a:cubicBezTo>
                  <a:cubicBezTo>
                    <a:pt x="59" y="483"/>
                    <a:pt x="35" y="503"/>
                    <a:pt x="61" y="516"/>
                  </a:cubicBezTo>
                  <a:cubicBezTo>
                    <a:pt x="87" y="529"/>
                    <a:pt x="78" y="539"/>
                    <a:pt x="78" y="555"/>
                  </a:cubicBezTo>
                  <a:cubicBezTo>
                    <a:pt x="78" y="572"/>
                    <a:pt x="70" y="600"/>
                    <a:pt x="94" y="633"/>
                  </a:cubicBezTo>
                  <a:cubicBezTo>
                    <a:pt x="118" y="666"/>
                    <a:pt x="129" y="681"/>
                    <a:pt x="107" y="705"/>
                  </a:cubicBezTo>
                  <a:cubicBezTo>
                    <a:pt x="85" y="729"/>
                    <a:pt x="59" y="763"/>
                    <a:pt x="54" y="791"/>
                  </a:cubicBezTo>
                  <a:cubicBezTo>
                    <a:pt x="50" y="818"/>
                    <a:pt x="0" y="818"/>
                    <a:pt x="24" y="854"/>
                  </a:cubicBezTo>
                  <a:cubicBezTo>
                    <a:pt x="48" y="889"/>
                    <a:pt x="63" y="891"/>
                    <a:pt x="94" y="894"/>
                  </a:cubicBezTo>
                  <a:cubicBezTo>
                    <a:pt x="124" y="898"/>
                    <a:pt x="190" y="907"/>
                    <a:pt x="198" y="930"/>
                  </a:cubicBezTo>
                  <a:cubicBezTo>
                    <a:pt x="206" y="949"/>
                    <a:pt x="264" y="1009"/>
                    <a:pt x="295" y="1052"/>
                  </a:cubicBezTo>
                  <a:cubicBezTo>
                    <a:pt x="330" y="1027"/>
                    <a:pt x="369" y="991"/>
                    <a:pt x="415" y="928"/>
                  </a:cubicBezTo>
                  <a:cubicBezTo>
                    <a:pt x="485" y="831"/>
                    <a:pt x="445" y="754"/>
                    <a:pt x="550" y="757"/>
                  </a:cubicBezTo>
                  <a:cubicBezTo>
                    <a:pt x="655" y="761"/>
                    <a:pt x="694" y="761"/>
                    <a:pt x="716" y="791"/>
                  </a:cubicBezTo>
                  <a:cubicBezTo>
                    <a:pt x="738" y="820"/>
                    <a:pt x="808" y="817"/>
                    <a:pt x="764" y="872"/>
                  </a:cubicBezTo>
                  <a:cubicBezTo>
                    <a:pt x="720" y="928"/>
                    <a:pt x="694" y="972"/>
                    <a:pt x="672" y="991"/>
                  </a:cubicBezTo>
                  <a:cubicBezTo>
                    <a:pt x="651" y="1009"/>
                    <a:pt x="594" y="1065"/>
                    <a:pt x="633" y="1091"/>
                  </a:cubicBezTo>
                  <a:cubicBezTo>
                    <a:pt x="672" y="1117"/>
                    <a:pt x="655" y="1135"/>
                    <a:pt x="699" y="1139"/>
                  </a:cubicBezTo>
                  <a:cubicBezTo>
                    <a:pt x="742" y="1143"/>
                    <a:pt x="738" y="1117"/>
                    <a:pt x="725" y="1161"/>
                  </a:cubicBezTo>
                  <a:cubicBezTo>
                    <a:pt x="712" y="1206"/>
                    <a:pt x="720" y="1213"/>
                    <a:pt x="664" y="1228"/>
                  </a:cubicBezTo>
                  <a:cubicBezTo>
                    <a:pt x="607" y="1243"/>
                    <a:pt x="616" y="1258"/>
                    <a:pt x="620" y="1284"/>
                  </a:cubicBezTo>
                  <a:cubicBezTo>
                    <a:pt x="624" y="1310"/>
                    <a:pt x="668" y="1295"/>
                    <a:pt x="712" y="1269"/>
                  </a:cubicBezTo>
                  <a:cubicBezTo>
                    <a:pt x="755" y="1243"/>
                    <a:pt x="803" y="1206"/>
                    <a:pt x="830" y="1161"/>
                  </a:cubicBezTo>
                  <a:cubicBezTo>
                    <a:pt x="856" y="1117"/>
                    <a:pt x="895" y="1057"/>
                    <a:pt x="956" y="1028"/>
                  </a:cubicBezTo>
                  <a:cubicBezTo>
                    <a:pt x="1018" y="998"/>
                    <a:pt x="1009" y="987"/>
                    <a:pt x="1061" y="965"/>
                  </a:cubicBezTo>
                  <a:cubicBezTo>
                    <a:pt x="1114" y="943"/>
                    <a:pt x="1127" y="935"/>
                    <a:pt x="1170" y="920"/>
                  </a:cubicBezTo>
                  <a:cubicBezTo>
                    <a:pt x="1202" y="909"/>
                    <a:pt x="1216" y="885"/>
                    <a:pt x="1239" y="884"/>
                  </a:cubicBezTo>
                  <a:cubicBezTo>
                    <a:pt x="1240" y="852"/>
                    <a:pt x="1245" y="812"/>
                    <a:pt x="1262" y="802"/>
                  </a:cubicBezTo>
                  <a:cubicBezTo>
                    <a:pt x="1293" y="783"/>
                    <a:pt x="1358" y="683"/>
                    <a:pt x="1411" y="657"/>
                  </a:cubicBezTo>
                  <a:cubicBezTo>
                    <a:pt x="1425" y="650"/>
                    <a:pt x="1443" y="640"/>
                    <a:pt x="1460" y="630"/>
                  </a:cubicBezTo>
                  <a:cubicBezTo>
                    <a:pt x="1461" y="592"/>
                    <a:pt x="1462" y="543"/>
                    <a:pt x="1462" y="528"/>
                  </a:cubicBezTo>
                  <a:cubicBezTo>
                    <a:pt x="1462" y="503"/>
                    <a:pt x="1446" y="484"/>
                    <a:pt x="1410" y="456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" name="Freeform 11"/>
            <p:cNvSpPr>
              <a:spLocks/>
            </p:cNvSpPr>
            <p:nvPr/>
          </p:nvSpPr>
          <p:spPr bwMode="auto">
            <a:xfrm>
              <a:off x="4637" y="856"/>
              <a:ext cx="985" cy="609"/>
            </a:xfrm>
            <a:custGeom>
              <a:avLst/>
              <a:gdLst>
                <a:gd name="T0" fmla="*/ 2111 w 2127"/>
                <a:gd name="T1" fmla="*/ 367 h 1316"/>
                <a:gd name="T2" fmla="*/ 1900 w 2127"/>
                <a:gd name="T3" fmla="*/ 314 h 1316"/>
                <a:gd name="T4" fmla="*/ 1808 w 2127"/>
                <a:gd name="T5" fmla="*/ 300 h 1316"/>
                <a:gd name="T6" fmla="*/ 1693 w 2127"/>
                <a:gd name="T7" fmla="*/ 361 h 1316"/>
                <a:gd name="T8" fmla="*/ 1634 w 2127"/>
                <a:gd name="T9" fmla="*/ 458 h 1316"/>
                <a:gd name="T10" fmla="*/ 1500 w 2127"/>
                <a:gd name="T11" fmla="*/ 367 h 1316"/>
                <a:gd name="T12" fmla="*/ 1467 w 2127"/>
                <a:gd name="T13" fmla="*/ 269 h 1316"/>
                <a:gd name="T14" fmla="*/ 1379 w 2127"/>
                <a:gd name="T15" fmla="*/ 280 h 1316"/>
                <a:gd name="T16" fmla="*/ 1392 w 2127"/>
                <a:gd name="T17" fmla="*/ 372 h 1316"/>
                <a:gd name="T18" fmla="*/ 1270 w 2127"/>
                <a:gd name="T19" fmla="*/ 269 h 1316"/>
                <a:gd name="T20" fmla="*/ 1143 w 2127"/>
                <a:gd name="T21" fmla="*/ 239 h 1316"/>
                <a:gd name="T22" fmla="*/ 1044 w 2127"/>
                <a:gd name="T23" fmla="*/ 152 h 1316"/>
                <a:gd name="T24" fmla="*/ 907 w 2127"/>
                <a:gd name="T25" fmla="*/ 186 h 1316"/>
                <a:gd name="T26" fmla="*/ 766 w 2127"/>
                <a:gd name="T27" fmla="*/ 166 h 1316"/>
                <a:gd name="T28" fmla="*/ 638 w 2127"/>
                <a:gd name="T29" fmla="*/ 189 h 1316"/>
                <a:gd name="T30" fmla="*/ 494 w 2127"/>
                <a:gd name="T31" fmla="*/ 111 h 1316"/>
                <a:gd name="T32" fmla="*/ 402 w 2127"/>
                <a:gd name="T33" fmla="*/ 16 h 1316"/>
                <a:gd name="T34" fmla="*/ 290 w 2127"/>
                <a:gd name="T35" fmla="*/ 51 h 1316"/>
                <a:gd name="T36" fmla="*/ 245 w 2127"/>
                <a:gd name="T37" fmla="*/ 114 h 1316"/>
                <a:gd name="T38" fmla="*/ 160 w 2127"/>
                <a:gd name="T39" fmla="*/ 157 h 1316"/>
                <a:gd name="T40" fmla="*/ 64 w 2127"/>
                <a:gd name="T41" fmla="*/ 146 h 1316"/>
                <a:gd name="T42" fmla="*/ 103 w 2127"/>
                <a:gd name="T43" fmla="*/ 239 h 1316"/>
                <a:gd name="T44" fmla="*/ 177 w 2127"/>
                <a:gd name="T45" fmla="*/ 316 h 1316"/>
                <a:gd name="T46" fmla="*/ 180 w 2127"/>
                <a:gd name="T47" fmla="*/ 478 h 1316"/>
                <a:gd name="T48" fmla="*/ 271 w 2127"/>
                <a:gd name="T49" fmla="*/ 569 h 1316"/>
                <a:gd name="T50" fmla="*/ 404 w 2127"/>
                <a:gd name="T51" fmla="*/ 493 h 1316"/>
                <a:gd name="T52" fmla="*/ 512 w 2127"/>
                <a:gd name="T53" fmla="*/ 637 h 1316"/>
                <a:gd name="T54" fmla="*/ 570 w 2127"/>
                <a:gd name="T55" fmla="*/ 733 h 1316"/>
                <a:gd name="T56" fmla="*/ 619 w 2127"/>
                <a:gd name="T57" fmla="*/ 717 h 1316"/>
                <a:gd name="T58" fmla="*/ 740 w 2127"/>
                <a:gd name="T59" fmla="*/ 803 h 1316"/>
                <a:gd name="T60" fmla="*/ 871 w 2127"/>
                <a:gd name="T61" fmla="*/ 834 h 1316"/>
                <a:gd name="T62" fmla="*/ 1005 w 2127"/>
                <a:gd name="T63" fmla="*/ 1014 h 1316"/>
                <a:gd name="T64" fmla="*/ 1146 w 2127"/>
                <a:gd name="T65" fmla="*/ 1214 h 1316"/>
                <a:gd name="T66" fmla="*/ 1243 w 2127"/>
                <a:gd name="T67" fmla="*/ 1228 h 1316"/>
                <a:gd name="T68" fmla="*/ 1339 w 2127"/>
                <a:gd name="T69" fmla="*/ 995 h 1316"/>
                <a:gd name="T70" fmla="*/ 1470 w 2127"/>
                <a:gd name="T71" fmla="*/ 1039 h 1316"/>
                <a:gd name="T72" fmla="*/ 1552 w 2127"/>
                <a:gd name="T73" fmla="*/ 1039 h 1316"/>
                <a:gd name="T74" fmla="*/ 1647 w 2127"/>
                <a:gd name="T75" fmla="*/ 1017 h 1316"/>
                <a:gd name="T76" fmla="*/ 1587 w 2127"/>
                <a:gd name="T77" fmla="*/ 911 h 1316"/>
                <a:gd name="T78" fmla="*/ 1693 w 2127"/>
                <a:gd name="T79" fmla="*/ 846 h 1316"/>
                <a:gd name="T80" fmla="*/ 1811 w 2127"/>
                <a:gd name="T81" fmla="*/ 714 h 1316"/>
                <a:gd name="T82" fmla="*/ 1862 w 2127"/>
                <a:gd name="T83" fmla="*/ 588 h 1316"/>
                <a:gd name="T84" fmla="*/ 1978 w 2127"/>
                <a:gd name="T85" fmla="*/ 596 h 1316"/>
                <a:gd name="T86" fmla="*/ 2127 w 2127"/>
                <a:gd name="T87" fmla="*/ 489 h 1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27" h="1316">
                  <a:moveTo>
                    <a:pt x="2114" y="376"/>
                  </a:moveTo>
                  <a:cubicBezTo>
                    <a:pt x="2113" y="373"/>
                    <a:pt x="2112" y="370"/>
                    <a:pt x="2111" y="367"/>
                  </a:cubicBezTo>
                  <a:cubicBezTo>
                    <a:pt x="2041" y="376"/>
                    <a:pt x="1984" y="369"/>
                    <a:pt x="1955" y="367"/>
                  </a:cubicBezTo>
                  <a:cubicBezTo>
                    <a:pt x="1919" y="364"/>
                    <a:pt x="1939" y="369"/>
                    <a:pt x="1900" y="314"/>
                  </a:cubicBezTo>
                  <a:cubicBezTo>
                    <a:pt x="1860" y="258"/>
                    <a:pt x="1886" y="289"/>
                    <a:pt x="1854" y="314"/>
                  </a:cubicBezTo>
                  <a:cubicBezTo>
                    <a:pt x="1821" y="339"/>
                    <a:pt x="1818" y="328"/>
                    <a:pt x="1808" y="300"/>
                  </a:cubicBezTo>
                  <a:cubicBezTo>
                    <a:pt x="1798" y="272"/>
                    <a:pt x="1778" y="303"/>
                    <a:pt x="1765" y="330"/>
                  </a:cubicBezTo>
                  <a:cubicBezTo>
                    <a:pt x="1752" y="358"/>
                    <a:pt x="1726" y="353"/>
                    <a:pt x="1693" y="361"/>
                  </a:cubicBezTo>
                  <a:cubicBezTo>
                    <a:pt x="1660" y="369"/>
                    <a:pt x="1677" y="383"/>
                    <a:pt x="1680" y="417"/>
                  </a:cubicBezTo>
                  <a:cubicBezTo>
                    <a:pt x="1683" y="450"/>
                    <a:pt x="1664" y="455"/>
                    <a:pt x="1634" y="458"/>
                  </a:cubicBezTo>
                  <a:cubicBezTo>
                    <a:pt x="1605" y="461"/>
                    <a:pt x="1592" y="444"/>
                    <a:pt x="1578" y="414"/>
                  </a:cubicBezTo>
                  <a:cubicBezTo>
                    <a:pt x="1565" y="383"/>
                    <a:pt x="1500" y="386"/>
                    <a:pt x="1500" y="367"/>
                  </a:cubicBezTo>
                  <a:cubicBezTo>
                    <a:pt x="1500" y="347"/>
                    <a:pt x="1493" y="344"/>
                    <a:pt x="1470" y="328"/>
                  </a:cubicBezTo>
                  <a:cubicBezTo>
                    <a:pt x="1447" y="311"/>
                    <a:pt x="1467" y="294"/>
                    <a:pt x="1467" y="269"/>
                  </a:cubicBezTo>
                  <a:cubicBezTo>
                    <a:pt x="1467" y="244"/>
                    <a:pt x="1477" y="236"/>
                    <a:pt x="1438" y="233"/>
                  </a:cubicBezTo>
                  <a:cubicBezTo>
                    <a:pt x="1398" y="230"/>
                    <a:pt x="1382" y="250"/>
                    <a:pt x="1379" y="280"/>
                  </a:cubicBezTo>
                  <a:cubicBezTo>
                    <a:pt x="1375" y="311"/>
                    <a:pt x="1398" y="322"/>
                    <a:pt x="1415" y="342"/>
                  </a:cubicBezTo>
                  <a:cubicBezTo>
                    <a:pt x="1431" y="361"/>
                    <a:pt x="1408" y="372"/>
                    <a:pt x="1392" y="372"/>
                  </a:cubicBezTo>
                  <a:cubicBezTo>
                    <a:pt x="1375" y="372"/>
                    <a:pt x="1349" y="372"/>
                    <a:pt x="1320" y="350"/>
                  </a:cubicBezTo>
                  <a:cubicBezTo>
                    <a:pt x="1290" y="328"/>
                    <a:pt x="1280" y="300"/>
                    <a:pt x="1270" y="269"/>
                  </a:cubicBezTo>
                  <a:cubicBezTo>
                    <a:pt x="1261" y="239"/>
                    <a:pt x="1208" y="283"/>
                    <a:pt x="1175" y="280"/>
                  </a:cubicBezTo>
                  <a:cubicBezTo>
                    <a:pt x="1143" y="278"/>
                    <a:pt x="1130" y="261"/>
                    <a:pt x="1143" y="239"/>
                  </a:cubicBezTo>
                  <a:cubicBezTo>
                    <a:pt x="1156" y="216"/>
                    <a:pt x="1166" y="203"/>
                    <a:pt x="1149" y="189"/>
                  </a:cubicBezTo>
                  <a:cubicBezTo>
                    <a:pt x="1133" y="175"/>
                    <a:pt x="1090" y="158"/>
                    <a:pt x="1044" y="152"/>
                  </a:cubicBezTo>
                  <a:cubicBezTo>
                    <a:pt x="999" y="147"/>
                    <a:pt x="999" y="161"/>
                    <a:pt x="979" y="180"/>
                  </a:cubicBezTo>
                  <a:cubicBezTo>
                    <a:pt x="959" y="200"/>
                    <a:pt x="956" y="189"/>
                    <a:pt x="907" y="186"/>
                  </a:cubicBezTo>
                  <a:cubicBezTo>
                    <a:pt x="858" y="183"/>
                    <a:pt x="881" y="175"/>
                    <a:pt x="854" y="144"/>
                  </a:cubicBezTo>
                  <a:cubicBezTo>
                    <a:pt x="828" y="114"/>
                    <a:pt x="795" y="150"/>
                    <a:pt x="766" y="166"/>
                  </a:cubicBezTo>
                  <a:cubicBezTo>
                    <a:pt x="736" y="183"/>
                    <a:pt x="733" y="172"/>
                    <a:pt x="700" y="161"/>
                  </a:cubicBezTo>
                  <a:cubicBezTo>
                    <a:pt x="668" y="150"/>
                    <a:pt x="668" y="175"/>
                    <a:pt x="638" y="189"/>
                  </a:cubicBezTo>
                  <a:cubicBezTo>
                    <a:pt x="609" y="203"/>
                    <a:pt x="602" y="197"/>
                    <a:pt x="563" y="169"/>
                  </a:cubicBezTo>
                  <a:cubicBezTo>
                    <a:pt x="524" y="141"/>
                    <a:pt x="527" y="127"/>
                    <a:pt x="494" y="111"/>
                  </a:cubicBezTo>
                  <a:cubicBezTo>
                    <a:pt x="461" y="94"/>
                    <a:pt x="474" y="55"/>
                    <a:pt x="458" y="27"/>
                  </a:cubicBezTo>
                  <a:cubicBezTo>
                    <a:pt x="442" y="0"/>
                    <a:pt x="432" y="16"/>
                    <a:pt x="402" y="16"/>
                  </a:cubicBezTo>
                  <a:cubicBezTo>
                    <a:pt x="373" y="16"/>
                    <a:pt x="376" y="30"/>
                    <a:pt x="330" y="41"/>
                  </a:cubicBezTo>
                  <a:cubicBezTo>
                    <a:pt x="313" y="45"/>
                    <a:pt x="300" y="49"/>
                    <a:pt x="290" y="51"/>
                  </a:cubicBezTo>
                  <a:cubicBezTo>
                    <a:pt x="291" y="55"/>
                    <a:pt x="290" y="59"/>
                    <a:pt x="287" y="64"/>
                  </a:cubicBezTo>
                  <a:cubicBezTo>
                    <a:pt x="271" y="89"/>
                    <a:pt x="243" y="81"/>
                    <a:pt x="245" y="114"/>
                  </a:cubicBezTo>
                  <a:cubicBezTo>
                    <a:pt x="247" y="148"/>
                    <a:pt x="265" y="213"/>
                    <a:pt x="221" y="189"/>
                  </a:cubicBezTo>
                  <a:cubicBezTo>
                    <a:pt x="177" y="165"/>
                    <a:pt x="180" y="139"/>
                    <a:pt x="160" y="157"/>
                  </a:cubicBezTo>
                  <a:cubicBezTo>
                    <a:pt x="140" y="176"/>
                    <a:pt x="142" y="183"/>
                    <a:pt x="116" y="170"/>
                  </a:cubicBezTo>
                  <a:cubicBezTo>
                    <a:pt x="90" y="157"/>
                    <a:pt x="73" y="131"/>
                    <a:pt x="64" y="146"/>
                  </a:cubicBezTo>
                  <a:cubicBezTo>
                    <a:pt x="55" y="161"/>
                    <a:pt x="0" y="215"/>
                    <a:pt x="35" y="226"/>
                  </a:cubicBezTo>
                  <a:cubicBezTo>
                    <a:pt x="70" y="237"/>
                    <a:pt x="99" y="211"/>
                    <a:pt x="103" y="239"/>
                  </a:cubicBezTo>
                  <a:cubicBezTo>
                    <a:pt x="107" y="266"/>
                    <a:pt x="110" y="266"/>
                    <a:pt x="134" y="278"/>
                  </a:cubicBezTo>
                  <a:cubicBezTo>
                    <a:pt x="158" y="289"/>
                    <a:pt x="180" y="292"/>
                    <a:pt x="177" y="316"/>
                  </a:cubicBezTo>
                  <a:cubicBezTo>
                    <a:pt x="175" y="341"/>
                    <a:pt x="136" y="392"/>
                    <a:pt x="147" y="420"/>
                  </a:cubicBezTo>
                  <a:cubicBezTo>
                    <a:pt x="158" y="448"/>
                    <a:pt x="169" y="457"/>
                    <a:pt x="180" y="478"/>
                  </a:cubicBezTo>
                  <a:cubicBezTo>
                    <a:pt x="190" y="498"/>
                    <a:pt x="219" y="502"/>
                    <a:pt x="225" y="535"/>
                  </a:cubicBezTo>
                  <a:cubicBezTo>
                    <a:pt x="232" y="569"/>
                    <a:pt x="236" y="593"/>
                    <a:pt x="271" y="569"/>
                  </a:cubicBezTo>
                  <a:cubicBezTo>
                    <a:pt x="306" y="544"/>
                    <a:pt x="341" y="537"/>
                    <a:pt x="352" y="515"/>
                  </a:cubicBezTo>
                  <a:cubicBezTo>
                    <a:pt x="363" y="493"/>
                    <a:pt x="398" y="463"/>
                    <a:pt x="404" y="493"/>
                  </a:cubicBezTo>
                  <a:cubicBezTo>
                    <a:pt x="411" y="522"/>
                    <a:pt x="463" y="531"/>
                    <a:pt x="468" y="567"/>
                  </a:cubicBezTo>
                  <a:cubicBezTo>
                    <a:pt x="472" y="602"/>
                    <a:pt x="498" y="607"/>
                    <a:pt x="512" y="637"/>
                  </a:cubicBezTo>
                  <a:cubicBezTo>
                    <a:pt x="525" y="667"/>
                    <a:pt x="503" y="721"/>
                    <a:pt x="522" y="730"/>
                  </a:cubicBezTo>
                  <a:cubicBezTo>
                    <a:pt x="538" y="737"/>
                    <a:pt x="560" y="726"/>
                    <a:pt x="570" y="733"/>
                  </a:cubicBezTo>
                  <a:cubicBezTo>
                    <a:pt x="572" y="726"/>
                    <a:pt x="574" y="717"/>
                    <a:pt x="579" y="708"/>
                  </a:cubicBezTo>
                  <a:cubicBezTo>
                    <a:pt x="592" y="686"/>
                    <a:pt x="596" y="700"/>
                    <a:pt x="619" y="717"/>
                  </a:cubicBezTo>
                  <a:cubicBezTo>
                    <a:pt x="641" y="733"/>
                    <a:pt x="655" y="742"/>
                    <a:pt x="697" y="747"/>
                  </a:cubicBezTo>
                  <a:cubicBezTo>
                    <a:pt x="740" y="753"/>
                    <a:pt x="697" y="747"/>
                    <a:pt x="740" y="803"/>
                  </a:cubicBezTo>
                  <a:cubicBezTo>
                    <a:pt x="782" y="859"/>
                    <a:pt x="789" y="764"/>
                    <a:pt x="809" y="764"/>
                  </a:cubicBezTo>
                  <a:cubicBezTo>
                    <a:pt x="828" y="764"/>
                    <a:pt x="845" y="786"/>
                    <a:pt x="871" y="834"/>
                  </a:cubicBezTo>
                  <a:cubicBezTo>
                    <a:pt x="897" y="881"/>
                    <a:pt x="936" y="895"/>
                    <a:pt x="972" y="928"/>
                  </a:cubicBezTo>
                  <a:cubicBezTo>
                    <a:pt x="1008" y="961"/>
                    <a:pt x="1005" y="959"/>
                    <a:pt x="1005" y="1014"/>
                  </a:cubicBezTo>
                  <a:cubicBezTo>
                    <a:pt x="1005" y="1070"/>
                    <a:pt x="1058" y="1114"/>
                    <a:pt x="1094" y="1142"/>
                  </a:cubicBezTo>
                  <a:cubicBezTo>
                    <a:pt x="1130" y="1170"/>
                    <a:pt x="1146" y="1189"/>
                    <a:pt x="1146" y="1214"/>
                  </a:cubicBezTo>
                  <a:cubicBezTo>
                    <a:pt x="1146" y="1229"/>
                    <a:pt x="1145" y="1278"/>
                    <a:pt x="1144" y="1316"/>
                  </a:cubicBezTo>
                  <a:cubicBezTo>
                    <a:pt x="1188" y="1289"/>
                    <a:pt x="1234" y="1255"/>
                    <a:pt x="1243" y="1228"/>
                  </a:cubicBezTo>
                  <a:cubicBezTo>
                    <a:pt x="1256" y="1191"/>
                    <a:pt x="1296" y="1139"/>
                    <a:pt x="1300" y="1106"/>
                  </a:cubicBezTo>
                  <a:cubicBezTo>
                    <a:pt x="1304" y="1073"/>
                    <a:pt x="1313" y="995"/>
                    <a:pt x="1339" y="995"/>
                  </a:cubicBezTo>
                  <a:cubicBezTo>
                    <a:pt x="1365" y="995"/>
                    <a:pt x="1392" y="1002"/>
                    <a:pt x="1409" y="1021"/>
                  </a:cubicBezTo>
                  <a:cubicBezTo>
                    <a:pt x="1427" y="1039"/>
                    <a:pt x="1440" y="1043"/>
                    <a:pt x="1470" y="1039"/>
                  </a:cubicBezTo>
                  <a:cubicBezTo>
                    <a:pt x="1501" y="1036"/>
                    <a:pt x="1492" y="1024"/>
                    <a:pt x="1515" y="1039"/>
                  </a:cubicBezTo>
                  <a:cubicBezTo>
                    <a:pt x="1537" y="1055"/>
                    <a:pt x="1544" y="1048"/>
                    <a:pt x="1552" y="1039"/>
                  </a:cubicBezTo>
                  <a:cubicBezTo>
                    <a:pt x="1560" y="1031"/>
                    <a:pt x="1580" y="1010"/>
                    <a:pt x="1595" y="1021"/>
                  </a:cubicBezTo>
                  <a:cubicBezTo>
                    <a:pt x="1610" y="1032"/>
                    <a:pt x="1639" y="1043"/>
                    <a:pt x="1647" y="1017"/>
                  </a:cubicBezTo>
                  <a:cubicBezTo>
                    <a:pt x="1655" y="991"/>
                    <a:pt x="1672" y="975"/>
                    <a:pt x="1649" y="960"/>
                  </a:cubicBezTo>
                  <a:cubicBezTo>
                    <a:pt x="1626" y="945"/>
                    <a:pt x="1587" y="936"/>
                    <a:pt x="1587" y="911"/>
                  </a:cubicBezTo>
                  <a:cubicBezTo>
                    <a:pt x="1587" y="886"/>
                    <a:pt x="1585" y="853"/>
                    <a:pt x="1613" y="854"/>
                  </a:cubicBezTo>
                  <a:cubicBezTo>
                    <a:pt x="1641" y="856"/>
                    <a:pt x="1657" y="863"/>
                    <a:pt x="1693" y="846"/>
                  </a:cubicBezTo>
                  <a:cubicBezTo>
                    <a:pt x="1729" y="829"/>
                    <a:pt x="1752" y="842"/>
                    <a:pt x="1773" y="802"/>
                  </a:cubicBezTo>
                  <a:cubicBezTo>
                    <a:pt x="1795" y="761"/>
                    <a:pt x="1777" y="722"/>
                    <a:pt x="1811" y="714"/>
                  </a:cubicBezTo>
                  <a:cubicBezTo>
                    <a:pt x="1845" y="706"/>
                    <a:pt x="1890" y="693"/>
                    <a:pt x="1881" y="667"/>
                  </a:cubicBezTo>
                  <a:cubicBezTo>
                    <a:pt x="1873" y="640"/>
                    <a:pt x="1859" y="604"/>
                    <a:pt x="1862" y="588"/>
                  </a:cubicBezTo>
                  <a:cubicBezTo>
                    <a:pt x="1865" y="571"/>
                    <a:pt x="1883" y="522"/>
                    <a:pt x="1922" y="546"/>
                  </a:cubicBezTo>
                  <a:cubicBezTo>
                    <a:pt x="1962" y="569"/>
                    <a:pt x="1937" y="586"/>
                    <a:pt x="1978" y="596"/>
                  </a:cubicBezTo>
                  <a:cubicBezTo>
                    <a:pt x="2019" y="606"/>
                    <a:pt x="1998" y="572"/>
                    <a:pt x="2034" y="553"/>
                  </a:cubicBezTo>
                  <a:cubicBezTo>
                    <a:pt x="2070" y="533"/>
                    <a:pt x="2127" y="526"/>
                    <a:pt x="2127" y="489"/>
                  </a:cubicBezTo>
                  <a:cubicBezTo>
                    <a:pt x="2127" y="451"/>
                    <a:pt x="2122" y="414"/>
                    <a:pt x="2114" y="376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" name="Freeform 12"/>
            <p:cNvSpPr>
              <a:spLocks/>
            </p:cNvSpPr>
            <p:nvPr/>
          </p:nvSpPr>
          <p:spPr bwMode="auto">
            <a:xfrm>
              <a:off x="2375" y="68"/>
              <a:ext cx="2536" cy="2030"/>
            </a:xfrm>
            <a:custGeom>
              <a:avLst/>
              <a:gdLst>
                <a:gd name="T0" fmla="*/ 318 w 5477"/>
                <a:gd name="T1" fmla="*/ 3541 h 4382"/>
                <a:gd name="T2" fmla="*/ 498 w 5477"/>
                <a:gd name="T3" fmla="*/ 3760 h 4382"/>
                <a:gd name="T4" fmla="*/ 1096 w 5477"/>
                <a:gd name="T5" fmla="*/ 4000 h 4382"/>
                <a:gd name="T6" fmla="*/ 1349 w 5477"/>
                <a:gd name="T7" fmla="*/ 4245 h 4382"/>
                <a:gd name="T8" fmla="*/ 1817 w 5477"/>
                <a:gd name="T9" fmla="*/ 4278 h 4382"/>
                <a:gd name="T10" fmla="*/ 2000 w 5477"/>
                <a:gd name="T11" fmla="*/ 3871 h 4382"/>
                <a:gd name="T12" fmla="*/ 2166 w 5477"/>
                <a:gd name="T13" fmla="*/ 4182 h 4382"/>
                <a:gd name="T14" fmla="*/ 2516 w 5477"/>
                <a:gd name="T15" fmla="*/ 4204 h 4382"/>
                <a:gd name="T16" fmla="*/ 2765 w 5477"/>
                <a:gd name="T17" fmla="*/ 3860 h 4382"/>
                <a:gd name="T18" fmla="*/ 3057 w 5477"/>
                <a:gd name="T19" fmla="*/ 3737 h 4382"/>
                <a:gd name="T20" fmla="*/ 3385 w 5477"/>
                <a:gd name="T21" fmla="*/ 3504 h 4382"/>
                <a:gd name="T22" fmla="*/ 3547 w 5477"/>
                <a:gd name="T23" fmla="*/ 3352 h 4382"/>
                <a:gd name="T24" fmla="*/ 3625 w 5477"/>
                <a:gd name="T25" fmla="*/ 3059 h 4382"/>
                <a:gd name="T26" fmla="*/ 4005 w 5477"/>
                <a:gd name="T27" fmla="*/ 3029 h 4382"/>
                <a:gd name="T28" fmla="*/ 4237 w 5477"/>
                <a:gd name="T29" fmla="*/ 2837 h 4382"/>
                <a:gd name="T30" fmla="*/ 4477 w 5477"/>
                <a:gd name="T31" fmla="*/ 3129 h 4382"/>
                <a:gd name="T32" fmla="*/ 4647 w 5477"/>
                <a:gd name="T33" fmla="*/ 2942 h 4382"/>
                <a:gd name="T34" fmla="*/ 4802 w 5477"/>
                <a:gd name="T35" fmla="*/ 2970 h 4382"/>
                <a:gd name="T36" fmla="*/ 5062 w 5477"/>
                <a:gd name="T37" fmla="*/ 2725 h 4382"/>
                <a:gd name="T38" fmla="*/ 5344 w 5477"/>
                <a:gd name="T39" fmla="*/ 2614 h 4382"/>
                <a:gd name="T40" fmla="*/ 5397 w 5477"/>
                <a:gd name="T41" fmla="*/ 2338 h 4382"/>
                <a:gd name="T42" fmla="*/ 5110 w 5477"/>
                <a:gd name="T43" fmla="*/ 2236 h 4382"/>
                <a:gd name="T44" fmla="*/ 4988 w 5477"/>
                <a:gd name="T45" fmla="*/ 1940 h 4382"/>
                <a:gd name="T46" fmla="*/ 5106 w 5477"/>
                <a:gd name="T47" fmla="*/ 1890 h 4382"/>
                <a:gd name="T48" fmla="*/ 5222 w 5477"/>
                <a:gd name="T49" fmla="*/ 1638 h 4382"/>
                <a:gd name="T50" fmla="*/ 4988 w 5477"/>
                <a:gd name="T51" fmla="*/ 1508 h 4382"/>
                <a:gd name="T52" fmla="*/ 5270 w 5477"/>
                <a:gd name="T53" fmla="*/ 1172 h 4382"/>
                <a:gd name="T54" fmla="*/ 5370 w 5477"/>
                <a:gd name="T55" fmla="*/ 932 h 4382"/>
                <a:gd name="T56" fmla="*/ 5418 w 5477"/>
                <a:gd name="T57" fmla="*/ 437 h 4382"/>
                <a:gd name="T58" fmla="*/ 4861 w 5477"/>
                <a:gd name="T59" fmla="*/ 466 h 4382"/>
                <a:gd name="T60" fmla="*/ 4619 w 5477"/>
                <a:gd name="T61" fmla="*/ 233 h 4382"/>
                <a:gd name="T62" fmla="*/ 4445 w 5477"/>
                <a:gd name="T63" fmla="*/ 0 h 4382"/>
                <a:gd name="T64" fmla="*/ 4370 w 5477"/>
                <a:gd name="T65" fmla="*/ 226 h 4382"/>
                <a:gd name="T66" fmla="*/ 4303 w 5477"/>
                <a:gd name="T67" fmla="*/ 541 h 4382"/>
                <a:gd name="T68" fmla="*/ 4239 w 5477"/>
                <a:gd name="T69" fmla="*/ 747 h 4382"/>
                <a:gd name="T70" fmla="*/ 4144 w 5477"/>
                <a:gd name="T71" fmla="*/ 957 h 4382"/>
                <a:gd name="T72" fmla="*/ 3764 w 5477"/>
                <a:gd name="T73" fmla="*/ 1100 h 4382"/>
                <a:gd name="T74" fmla="*/ 3630 w 5477"/>
                <a:gd name="T75" fmla="*/ 1506 h 4382"/>
                <a:gd name="T76" fmla="*/ 3970 w 5477"/>
                <a:gd name="T77" fmla="*/ 1564 h 4382"/>
                <a:gd name="T78" fmla="*/ 4314 w 5477"/>
                <a:gd name="T79" fmla="*/ 1498 h 4382"/>
                <a:gd name="T80" fmla="*/ 4429 w 5477"/>
                <a:gd name="T81" fmla="*/ 1778 h 4382"/>
                <a:gd name="T82" fmla="*/ 4108 w 5477"/>
                <a:gd name="T83" fmla="*/ 1831 h 4382"/>
                <a:gd name="T84" fmla="*/ 3843 w 5477"/>
                <a:gd name="T85" fmla="*/ 2098 h 4382"/>
                <a:gd name="T86" fmla="*/ 3361 w 5477"/>
                <a:gd name="T87" fmla="*/ 2387 h 4382"/>
                <a:gd name="T88" fmla="*/ 2945 w 5477"/>
                <a:gd name="T89" fmla="*/ 2498 h 4382"/>
                <a:gd name="T90" fmla="*/ 2883 w 5477"/>
                <a:gd name="T91" fmla="*/ 2807 h 4382"/>
                <a:gd name="T92" fmla="*/ 2381 w 5477"/>
                <a:gd name="T93" fmla="*/ 3068 h 4382"/>
                <a:gd name="T94" fmla="*/ 1756 w 5477"/>
                <a:gd name="T95" fmla="*/ 3241 h 4382"/>
                <a:gd name="T96" fmla="*/ 1372 w 5477"/>
                <a:gd name="T97" fmla="*/ 3280 h 4382"/>
                <a:gd name="T98" fmla="*/ 753 w 5477"/>
                <a:gd name="T99" fmla="*/ 3085 h 4382"/>
                <a:gd name="T100" fmla="*/ 137 w 5477"/>
                <a:gd name="T101" fmla="*/ 3043 h 4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77" h="4382">
                  <a:moveTo>
                    <a:pt x="26" y="3270"/>
                  </a:moveTo>
                  <a:cubicBezTo>
                    <a:pt x="0" y="3300"/>
                    <a:pt x="21" y="3322"/>
                    <a:pt x="21" y="3356"/>
                  </a:cubicBezTo>
                  <a:cubicBezTo>
                    <a:pt x="21" y="3389"/>
                    <a:pt x="61" y="3422"/>
                    <a:pt x="78" y="3459"/>
                  </a:cubicBezTo>
                  <a:cubicBezTo>
                    <a:pt x="96" y="3496"/>
                    <a:pt x="135" y="3519"/>
                    <a:pt x="187" y="3570"/>
                  </a:cubicBezTo>
                  <a:cubicBezTo>
                    <a:pt x="240" y="3622"/>
                    <a:pt x="292" y="3574"/>
                    <a:pt x="318" y="3541"/>
                  </a:cubicBezTo>
                  <a:cubicBezTo>
                    <a:pt x="345" y="3507"/>
                    <a:pt x="349" y="3500"/>
                    <a:pt x="375" y="3493"/>
                  </a:cubicBezTo>
                  <a:cubicBezTo>
                    <a:pt x="401" y="3485"/>
                    <a:pt x="546" y="3485"/>
                    <a:pt x="607" y="3507"/>
                  </a:cubicBezTo>
                  <a:cubicBezTo>
                    <a:pt x="668" y="3530"/>
                    <a:pt x="659" y="3567"/>
                    <a:pt x="655" y="3608"/>
                  </a:cubicBezTo>
                  <a:cubicBezTo>
                    <a:pt x="650" y="3648"/>
                    <a:pt x="607" y="3656"/>
                    <a:pt x="572" y="3667"/>
                  </a:cubicBezTo>
                  <a:cubicBezTo>
                    <a:pt x="537" y="3678"/>
                    <a:pt x="502" y="3741"/>
                    <a:pt x="498" y="3760"/>
                  </a:cubicBezTo>
                  <a:cubicBezTo>
                    <a:pt x="493" y="3778"/>
                    <a:pt x="581" y="3789"/>
                    <a:pt x="616" y="3826"/>
                  </a:cubicBezTo>
                  <a:cubicBezTo>
                    <a:pt x="650" y="3863"/>
                    <a:pt x="672" y="3848"/>
                    <a:pt x="720" y="3848"/>
                  </a:cubicBezTo>
                  <a:cubicBezTo>
                    <a:pt x="768" y="3848"/>
                    <a:pt x="733" y="3926"/>
                    <a:pt x="764" y="3963"/>
                  </a:cubicBezTo>
                  <a:cubicBezTo>
                    <a:pt x="795" y="4000"/>
                    <a:pt x="830" y="3982"/>
                    <a:pt x="891" y="4012"/>
                  </a:cubicBezTo>
                  <a:cubicBezTo>
                    <a:pt x="952" y="4041"/>
                    <a:pt x="1026" y="4015"/>
                    <a:pt x="1096" y="4000"/>
                  </a:cubicBezTo>
                  <a:cubicBezTo>
                    <a:pt x="1166" y="3986"/>
                    <a:pt x="1231" y="3904"/>
                    <a:pt x="1271" y="3871"/>
                  </a:cubicBezTo>
                  <a:cubicBezTo>
                    <a:pt x="1310" y="3837"/>
                    <a:pt x="1393" y="3874"/>
                    <a:pt x="1437" y="3904"/>
                  </a:cubicBezTo>
                  <a:cubicBezTo>
                    <a:pt x="1480" y="3934"/>
                    <a:pt x="1480" y="3974"/>
                    <a:pt x="1476" y="4034"/>
                  </a:cubicBezTo>
                  <a:cubicBezTo>
                    <a:pt x="1472" y="4093"/>
                    <a:pt x="1428" y="4119"/>
                    <a:pt x="1380" y="4134"/>
                  </a:cubicBezTo>
                  <a:cubicBezTo>
                    <a:pt x="1332" y="4149"/>
                    <a:pt x="1362" y="4201"/>
                    <a:pt x="1349" y="4245"/>
                  </a:cubicBezTo>
                  <a:cubicBezTo>
                    <a:pt x="1336" y="4290"/>
                    <a:pt x="1380" y="4293"/>
                    <a:pt x="1419" y="4323"/>
                  </a:cubicBezTo>
                  <a:cubicBezTo>
                    <a:pt x="1459" y="4353"/>
                    <a:pt x="1459" y="4382"/>
                    <a:pt x="1502" y="4375"/>
                  </a:cubicBezTo>
                  <a:cubicBezTo>
                    <a:pt x="1546" y="4367"/>
                    <a:pt x="1528" y="4330"/>
                    <a:pt x="1581" y="4345"/>
                  </a:cubicBezTo>
                  <a:cubicBezTo>
                    <a:pt x="1633" y="4360"/>
                    <a:pt x="1690" y="4315"/>
                    <a:pt x="1708" y="4282"/>
                  </a:cubicBezTo>
                  <a:cubicBezTo>
                    <a:pt x="1725" y="4249"/>
                    <a:pt x="1764" y="4282"/>
                    <a:pt x="1817" y="4278"/>
                  </a:cubicBezTo>
                  <a:cubicBezTo>
                    <a:pt x="1869" y="4275"/>
                    <a:pt x="1852" y="4208"/>
                    <a:pt x="1830" y="4197"/>
                  </a:cubicBezTo>
                  <a:cubicBezTo>
                    <a:pt x="1808" y="4186"/>
                    <a:pt x="1830" y="4138"/>
                    <a:pt x="1856" y="4112"/>
                  </a:cubicBezTo>
                  <a:cubicBezTo>
                    <a:pt x="1882" y="4086"/>
                    <a:pt x="1860" y="4037"/>
                    <a:pt x="1856" y="4004"/>
                  </a:cubicBezTo>
                  <a:cubicBezTo>
                    <a:pt x="1852" y="3971"/>
                    <a:pt x="1887" y="3960"/>
                    <a:pt x="1913" y="3923"/>
                  </a:cubicBezTo>
                  <a:cubicBezTo>
                    <a:pt x="1939" y="3886"/>
                    <a:pt x="1974" y="3889"/>
                    <a:pt x="2000" y="3871"/>
                  </a:cubicBezTo>
                  <a:cubicBezTo>
                    <a:pt x="2026" y="3852"/>
                    <a:pt x="2044" y="3889"/>
                    <a:pt x="2061" y="3904"/>
                  </a:cubicBezTo>
                  <a:cubicBezTo>
                    <a:pt x="2079" y="3919"/>
                    <a:pt x="2101" y="3949"/>
                    <a:pt x="2088" y="3978"/>
                  </a:cubicBezTo>
                  <a:cubicBezTo>
                    <a:pt x="2075" y="4008"/>
                    <a:pt x="2048" y="4023"/>
                    <a:pt x="2022" y="4049"/>
                  </a:cubicBezTo>
                  <a:cubicBezTo>
                    <a:pt x="1996" y="4075"/>
                    <a:pt x="2000" y="4134"/>
                    <a:pt x="2040" y="4160"/>
                  </a:cubicBezTo>
                  <a:cubicBezTo>
                    <a:pt x="2079" y="4186"/>
                    <a:pt x="2092" y="4160"/>
                    <a:pt x="2166" y="4182"/>
                  </a:cubicBezTo>
                  <a:cubicBezTo>
                    <a:pt x="2240" y="4204"/>
                    <a:pt x="2223" y="4252"/>
                    <a:pt x="2249" y="4252"/>
                  </a:cubicBezTo>
                  <a:cubicBezTo>
                    <a:pt x="2275" y="4252"/>
                    <a:pt x="2323" y="4264"/>
                    <a:pt x="2341" y="4241"/>
                  </a:cubicBezTo>
                  <a:cubicBezTo>
                    <a:pt x="2358" y="4219"/>
                    <a:pt x="2389" y="4252"/>
                    <a:pt x="2415" y="4278"/>
                  </a:cubicBezTo>
                  <a:cubicBezTo>
                    <a:pt x="2441" y="4304"/>
                    <a:pt x="2463" y="4256"/>
                    <a:pt x="2494" y="4256"/>
                  </a:cubicBezTo>
                  <a:cubicBezTo>
                    <a:pt x="2524" y="4256"/>
                    <a:pt x="2516" y="4241"/>
                    <a:pt x="2516" y="4204"/>
                  </a:cubicBezTo>
                  <a:cubicBezTo>
                    <a:pt x="2516" y="4167"/>
                    <a:pt x="2546" y="4156"/>
                    <a:pt x="2564" y="4130"/>
                  </a:cubicBezTo>
                  <a:cubicBezTo>
                    <a:pt x="2581" y="4104"/>
                    <a:pt x="2616" y="4082"/>
                    <a:pt x="2629" y="4052"/>
                  </a:cubicBezTo>
                  <a:cubicBezTo>
                    <a:pt x="2642" y="4023"/>
                    <a:pt x="2629" y="4023"/>
                    <a:pt x="2699" y="4015"/>
                  </a:cubicBezTo>
                  <a:cubicBezTo>
                    <a:pt x="2769" y="4008"/>
                    <a:pt x="2712" y="3960"/>
                    <a:pt x="2708" y="3923"/>
                  </a:cubicBezTo>
                  <a:cubicBezTo>
                    <a:pt x="2704" y="3886"/>
                    <a:pt x="2738" y="3882"/>
                    <a:pt x="2765" y="3860"/>
                  </a:cubicBezTo>
                  <a:cubicBezTo>
                    <a:pt x="2791" y="3837"/>
                    <a:pt x="2782" y="3823"/>
                    <a:pt x="2782" y="3797"/>
                  </a:cubicBezTo>
                  <a:cubicBezTo>
                    <a:pt x="2782" y="3771"/>
                    <a:pt x="2839" y="3811"/>
                    <a:pt x="2861" y="3826"/>
                  </a:cubicBezTo>
                  <a:cubicBezTo>
                    <a:pt x="2883" y="3841"/>
                    <a:pt x="2904" y="3830"/>
                    <a:pt x="2939" y="3774"/>
                  </a:cubicBezTo>
                  <a:cubicBezTo>
                    <a:pt x="2974" y="3719"/>
                    <a:pt x="2974" y="3774"/>
                    <a:pt x="3018" y="3793"/>
                  </a:cubicBezTo>
                  <a:cubicBezTo>
                    <a:pt x="3062" y="3811"/>
                    <a:pt x="3057" y="3774"/>
                    <a:pt x="3057" y="3737"/>
                  </a:cubicBezTo>
                  <a:cubicBezTo>
                    <a:pt x="3057" y="3700"/>
                    <a:pt x="3097" y="3726"/>
                    <a:pt x="3110" y="3734"/>
                  </a:cubicBezTo>
                  <a:cubicBezTo>
                    <a:pt x="3123" y="3741"/>
                    <a:pt x="3153" y="3722"/>
                    <a:pt x="3162" y="3697"/>
                  </a:cubicBezTo>
                  <a:cubicBezTo>
                    <a:pt x="3171" y="3671"/>
                    <a:pt x="3197" y="3589"/>
                    <a:pt x="3215" y="3563"/>
                  </a:cubicBezTo>
                  <a:cubicBezTo>
                    <a:pt x="3232" y="3537"/>
                    <a:pt x="3284" y="3548"/>
                    <a:pt x="3319" y="3563"/>
                  </a:cubicBezTo>
                  <a:cubicBezTo>
                    <a:pt x="3354" y="3578"/>
                    <a:pt x="3372" y="3530"/>
                    <a:pt x="3385" y="3504"/>
                  </a:cubicBezTo>
                  <a:cubicBezTo>
                    <a:pt x="3398" y="3478"/>
                    <a:pt x="3420" y="3500"/>
                    <a:pt x="3442" y="3519"/>
                  </a:cubicBezTo>
                  <a:cubicBezTo>
                    <a:pt x="3464" y="3537"/>
                    <a:pt x="3499" y="3515"/>
                    <a:pt x="3503" y="3489"/>
                  </a:cubicBezTo>
                  <a:cubicBezTo>
                    <a:pt x="3507" y="3463"/>
                    <a:pt x="3542" y="3478"/>
                    <a:pt x="3577" y="3470"/>
                  </a:cubicBezTo>
                  <a:cubicBezTo>
                    <a:pt x="3612" y="3463"/>
                    <a:pt x="3590" y="3411"/>
                    <a:pt x="3595" y="3396"/>
                  </a:cubicBezTo>
                  <a:cubicBezTo>
                    <a:pt x="3599" y="3381"/>
                    <a:pt x="3564" y="3381"/>
                    <a:pt x="3547" y="3352"/>
                  </a:cubicBezTo>
                  <a:cubicBezTo>
                    <a:pt x="3529" y="3322"/>
                    <a:pt x="3516" y="3311"/>
                    <a:pt x="3538" y="3300"/>
                  </a:cubicBezTo>
                  <a:cubicBezTo>
                    <a:pt x="3560" y="3289"/>
                    <a:pt x="3533" y="3270"/>
                    <a:pt x="3538" y="3233"/>
                  </a:cubicBezTo>
                  <a:cubicBezTo>
                    <a:pt x="3542" y="3196"/>
                    <a:pt x="3538" y="3189"/>
                    <a:pt x="3555" y="3185"/>
                  </a:cubicBezTo>
                  <a:cubicBezTo>
                    <a:pt x="3573" y="3181"/>
                    <a:pt x="3590" y="3159"/>
                    <a:pt x="3590" y="3129"/>
                  </a:cubicBezTo>
                  <a:cubicBezTo>
                    <a:pt x="3590" y="3100"/>
                    <a:pt x="3595" y="3089"/>
                    <a:pt x="3625" y="3059"/>
                  </a:cubicBezTo>
                  <a:cubicBezTo>
                    <a:pt x="3656" y="3029"/>
                    <a:pt x="3678" y="3026"/>
                    <a:pt x="3708" y="3048"/>
                  </a:cubicBezTo>
                  <a:cubicBezTo>
                    <a:pt x="3739" y="3070"/>
                    <a:pt x="3699" y="3129"/>
                    <a:pt x="3739" y="3166"/>
                  </a:cubicBezTo>
                  <a:cubicBezTo>
                    <a:pt x="3778" y="3204"/>
                    <a:pt x="3826" y="3118"/>
                    <a:pt x="3857" y="3085"/>
                  </a:cubicBezTo>
                  <a:cubicBezTo>
                    <a:pt x="3887" y="3052"/>
                    <a:pt x="3909" y="3048"/>
                    <a:pt x="3935" y="3070"/>
                  </a:cubicBezTo>
                  <a:cubicBezTo>
                    <a:pt x="3962" y="3092"/>
                    <a:pt x="3979" y="3066"/>
                    <a:pt x="4005" y="3029"/>
                  </a:cubicBezTo>
                  <a:cubicBezTo>
                    <a:pt x="4031" y="2992"/>
                    <a:pt x="4058" y="3018"/>
                    <a:pt x="4084" y="3033"/>
                  </a:cubicBezTo>
                  <a:cubicBezTo>
                    <a:pt x="4110" y="3048"/>
                    <a:pt x="4123" y="3018"/>
                    <a:pt x="4119" y="2996"/>
                  </a:cubicBezTo>
                  <a:cubicBezTo>
                    <a:pt x="4114" y="2974"/>
                    <a:pt x="4097" y="2959"/>
                    <a:pt x="4093" y="2929"/>
                  </a:cubicBezTo>
                  <a:cubicBezTo>
                    <a:pt x="4088" y="2900"/>
                    <a:pt x="4119" y="2885"/>
                    <a:pt x="4184" y="2870"/>
                  </a:cubicBezTo>
                  <a:cubicBezTo>
                    <a:pt x="4250" y="2855"/>
                    <a:pt x="4184" y="2870"/>
                    <a:pt x="4237" y="2837"/>
                  </a:cubicBezTo>
                  <a:cubicBezTo>
                    <a:pt x="4289" y="2803"/>
                    <a:pt x="4311" y="2855"/>
                    <a:pt x="4311" y="2855"/>
                  </a:cubicBezTo>
                  <a:cubicBezTo>
                    <a:pt x="4311" y="2855"/>
                    <a:pt x="4350" y="2914"/>
                    <a:pt x="4377" y="2929"/>
                  </a:cubicBezTo>
                  <a:cubicBezTo>
                    <a:pt x="4403" y="2944"/>
                    <a:pt x="4394" y="2959"/>
                    <a:pt x="4394" y="2992"/>
                  </a:cubicBezTo>
                  <a:cubicBezTo>
                    <a:pt x="4394" y="3026"/>
                    <a:pt x="4394" y="3037"/>
                    <a:pt x="4425" y="3052"/>
                  </a:cubicBezTo>
                  <a:cubicBezTo>
                    <a:pt x="4455" y="3066"/>
                    <a:pt x="4442" y="3103"/>
                    <a:pt x="4477" y="3129"/>
                  </a:cubicBezTo>
                  <a:cubicBezTo>
                    <a:pt x="4512" y="3155"/>
                    <a:pt x="4543" y="3129"/>
                    <a:pt x="4582" y="3129"/>
                  </a:cubicBezTo>
                  <a:cubicBezTo>
                    <a:pt x="4599" y="3129"/>
                    <a:pt x="4627" y="3126"/>
                    <a:pt x="4652" y="3122"/>
                  </a:cubicBezTo>
                  <a:cubicBezTo>
                    <a:pt x="4659" y="3111"/>
                    <a:pt x="4668" y="3101"/>
                    <a:pt x="4676" y="3092"/>
                  </a:cubicBezTo>
                  <a:cubicBezTo>
                    <a:pt x="4698" y="3068"/>
                    <a:pt x="4687" y="3053"/>
                    <a:pt x="4663" y="3020"/>
                  </a:cubicBezTo>
                  <a:cubicBezTo>
                    <a:pt x="4639" y="2987"/>
                    <a:pt x="4647" y="2959"/>
                    <a:pt x="4647" y="2942"/>
                  </a:cubicBezTo>
                  <a:cubicBezTo>
                    <a:pt x="4647" y="2926"/>
                    <a:pt x="4656" y="2916"/>
                    <a:pt x="4630" y="2903"/>
                  </a:cubicBezTo>
                  <a:cubicBezTo>
                    <a:pt x="4604" y="2890"/>
                    <a:pt x="4628" y="2870"/>
                    <a:pt x="4634" y="2855"/>
                  </a:cubicBezTo>
                  <a:cubicBezTo>
                    <a:pt x="4641" y="2840"/>
                    <a:pt x="4658" y="2822"/>
                    <a:pt x="4676" y="2848"/>
                  </a:cubicBezTo>
                  <a:cubicBezTo>
                    <a:pt x="4693" y="2874"/>
                    <a:pt x="4717" y="2863"/>
                    <a:pt x="4748" y="2892"/>
                  </a:cubicBezTo>
                  <a:cubicBezTo>
                    <a:pt x="4778" y="2922"/>
                    <a:pt x="4776" y="2933"/>
                    <a:pt x="4802" y="2970"/>
                  </a:cubicBezTo>
                  <a:cubicBezTo>
                    <a:pt x="4829" y="3007"/>
                    <a:pt x="4853" y="2933"/>
                    <a:pt x="4859" y="2907"/>
                  </a:cubicBezTo>
                  <a:cubicBezTo>
                    <a:pt x="4866" y="2881"/>
                    <a:pt x="4907" y="2851"/>
                    <a:pt x="4925" y="2831"/>
                  </a:cubicBezTo>
                  <a:cubicBezTo>
                    <a:pt x="4942" y="2811"/>
                    <a:pt x="4953" y="2814"/>
                    <a:pt x="4982" y="2801"/>
                  </a:cubicBezTo>
                  <a:cubicBezTo>
                    <a:pt x="5010" y="2788"/>
                    <a:pt x="5019" y="2766"/>
                    <a:pt x="5023" y="2742"/>
                  </a:cubicBezTo>
                  <a:cubicBezTo>
                    <a:pt x="5027" y="2718"/>
                    <a:pt x="5043" y="2725"/>
                    <a:pt x="5062" y="2725"/>
                  </a:cubicBezTo>
                  <a:cubicBezTo>
                    <a:pt x="5082" y="2725"/>
                    <a:pt x="5106" y="2735"/>
                    <a:pt x="5126" y="2703"/>
                  </a:cubicBezTo>
                  <a:cubicBezTo>
                    <a:pt x="5145" y="2672"/>
                    <a:pt x="5167" y="2711"/>
                    <a:pt x="5209" y="2714"/>
                  </a:cubicBezTo>
                  <a:cubicBezTo>
                    <a:pt x="5250" y="2718"/>
                    <a:pt x="5231" y="2631"/>
                    <a:pt x="5237" y="2614"/>
                  </a:cubicBezTo>
                  <a:cubicBezTo>
                    <a:pt x="5244" y="2598"/>
                    <a:pt x="5272" y="2614"/>
                    <a:pt x="5287" y="2623"/>
                  </a:cubicBezTo>
                  <a:cubicBezTo>
                    <a:pt x="5303" y="2633"/>
                    <a:pt x="5322" y="2620"/>
                    <a:pt x="5344" y="2614"/>
                  </a:cubicBezTo>
                  <a:cubicBezTo>
                    <a:pt x="5366" y="2609"/>
                    <a:pt x="5386" y="2590"/>
                    <a:pt x="5386" y="2559"/>
                  </a:cubicBezTo>
                  <a:cubicBezTo>
                    <a:pt x="5386" y="2527"/>
                    <a:pt x="5407" y="2536"/>
                    <a:pt x="5442" y="2514"/>
                  </a:cubicBezTo>
                  <a:cubicBezTo>
                    <a:pt x="5477" y="2492"/>
                    <a:pt x="5464" y="2468"/>
                    <a:pt x="5460" y="2444"/>
                  </a:cubicBezTo>
                  <a:cubicBezTo>
                    <a:pt x="5455" y="2420"/>
                    <a:pt x="5427" y="2440"/>
                    <a:pt x="5407" y="2431"/>
                  </a:cubicBezTo>
                  <a:cubicBezTo>
                    <a:pt x="5388" y="2422"/>
                    <a:pt x="5410" y="2368"/>
                    <a:pt x="5397" y="2338"/>
                  </a:cubicBezTo>
                  <a:cubicBezTo>
                    <a:pt x="5383" y="2308"/>
                    <a:pt x="5357" y="2303"/>
                    <a:pt x="5353" y="2268"/>
                  </a:cubicBezTo>
                  <a:cubicBezTo>
                    <a:pt x="5348" y="2232"/>
                    <a:pt x="5296" y="2223"/>
                    <a:pt x="5289" y="2194"/>
                  </a:cubicBezTo>
                  <a:cubicBezTo>
                    <a:pt x="5283" y="2164"/>
                    <a:pt x="5248" y="2194"/>
                    <a:pt x="5237" y="2216"/>
                  </a:cubicBezTo>
                  <a:cubicBezTo>
                    <a:pt x="5226" y="2238"/>
                    <a:pt x="5191" y="2245"/>
                    <a:pt x="5156" y="2270"/>
                  </a:cubicBezTo>
                  <a:cubicBezTo>
                    <a:pt x="5121" y="2294"/>
                    <a:pt x="5117" y="2270"/>
                    <a:pt x="5110" y="2236"/>
                  </a:cubicBezTo>
                  <a:cubicBezTo>
                    <a:pt x="5104" y="2203"/>
                    <a:pt x="5075" y="2199"/>
                    <a:pt x="5065" y="2179"/>
                  </a:cubicBezTo>
                  <a:cubicBezTo>
                    <a:pt x="5054" y="2158"/>
                    <a:pt x="5043" y="2149"/>
                    <a:pt x="5032" y="2121"/>
                  </a:cubicBezTo>
                  <a:cubicBezTo>
                    <a:pt x="5021" y="2093"/>
                    <a:pt x="5060" y="2042"/>
                    <a:pt x="5062" y="2017"/>
                  </a:cubicBezTo>
                  <a:cubicBezTo>
                    <a:pt x="5065" y="1993"/>
                    <a:pt x="5043" y="1990"/>
                    <a:pt x="5019" y="1979"/>
                  </a:cubicBezTo>
                  <a:cubicBezTo>
                    <a:pt x="4995" y="1967"/>
                    <a:pt x="4992" y="1967"/>
                    <a:pt x="4988" y="1940"/>
                  </a:cubicBezTo>
                  <a:cubicBezTo>
                    <a:pt x="4984" y="1912"/>
                    <a:pt x="4955" y="1938"/>
                    <a:pt x="4920" y="1927"/>
                  </a:cubicBezTo>
                  <a:cubicBezTo>
                    <a:pt x="4885" y="1916"/>
                    <a:pt x="4940" y="1862"/>
                    <a:pt x="4949" y="1847"/>
                  </a:cubicBezTo>
                  <a:cubicBezTo>
                    <a:pt x="4958" y="1832"/>
                    <a:pt x="4975" y="1858"/>
                    <a:pt x="5001" y="1871"/>
                  </a:cubicBezTo>
                  <a:cubicBezTo>
                    <a:pt x="5027" y="1884"/>
                    <a:pt x="5025" y="1877"/>
                    <a:pt x="5045" y="1858"/>
                  </a:cubicBezTo>
                  <a:cubicBezTo>
                    <a:pt x="5065" y="1840"/>
                    <a:pt x="5062" y="1866"/>
                    <a:pt x="5106" y="1890"/>
                  </a:cubicBezTo>
                  <a:cubicBezTo>
                    <a:pt x="5150" y="1914"/>
                    <a:pt x="5132" y="1849"/>
                    <a:pt x="5130" y="1815"/>
                  </a:cubicBezTo>
                  <a:cubicBezTo>
                    <a:pt x="5128" y="1782"/>
                    <a:pt x="5156" y="1790"/>
                    <a:pt x="5172" y="1765"/>
                  </a:cubicBezTo>
                  <a:cubicBezTo>
                    <a:pt x="5187" y="1741"/>
                    <a:pt x="5152" y="1741"/>
                    <a:pt x="5137" y="1727"/>
                  </a:cubicBezTo>
                  <a:cubicBezTo>
                    <a:pt x="5121" y="1712"/>
                    <a:pt x="5132" y="1684"/>
                    <a:pt x="5139" y="1662"/>
                  </a:cubicBezTo>
                  <a:cubicBezTo>
                    <a:pt x="5145" y="1639"/>
                    <a:pt x="5200" y="1645"/>
                    <a:pt x="5222" y="1638"/>
                  </a:cubicBezTo>
                  <a:cubicBezTo>
                    <a:pt x="5244" y="1630"/>
                    <a:pt x="5252" y="1608"/>
                    <a:pt x="5252" y="1591"/>
                  </a:cubicBezTo>
                  <a:cubicBezTo>
                    <a:pt x="5252" y="1575"/>
                    <a:pt x="5246" y="1576"/>
                    <a:pt x="5215" y="1595"/>
                  </a:cubicBezTo>
                  <a:cubicBezTo>
                    <a:pt x="5185" y="1613"/>
                    <a:pt x="5178" y="1602"/>
                    <a:pt x="5130" y="1593"/>
                  </a:cubicBezTo>
                  <a:cubicBezTo>
                    <a:pt x="5082" y="1584"/>
                    <a:pt x="5084" y="1576"/>
                    <a:pt x="5067" y="1562"/>
                  </a:cubicBezTo>
                  <a:cubicBezTo>
                    <a:pt x="5049" y="1547"/>
                    <a:pt x="5006" y="1528"/>
                    <a:pt x="4988" y="1508"/>
                  </a:cubicBezTo>
                  <a:cubicBezTo>
                    <a:pt x="4971" y="1487"/>
                    <a:pt x="4990" y="1445"/>
                    <a:pt x="5014" y="1426"/>
                  </a:cubicBezTo>
                  <a:cubicBezTo>
                    <a:pt x="5038" y="1408"/>
                    <a:pt x="5056" y="1378"/>
                    <a:pt x="5075" y="1347"/>
                  </a:cubicBezTo>
                  <a:cubicBezTo>
                    <a:pt x="5095" y="1315"/>
                    <a:pt x="5145" y="1267"/>
                    <a:pt x="5180" y="1228"/>
                  </a:cubicBezTo>
                  <a:cubicBezTo>
                    <a:pt x="5215" y="1189"/>
                    <a:pt x="5217" y="1161"/>
                    <a:pt x="5244" y="1132"/>
                  </a:cubicBezTo>
                  <a:cubicBezTo>
                    <a:pt x="5270" y="1102"/>
                    <a:pt x="5263" y="1146"/>
                    <a:pt x="5270" y="1172"/>
                  </a:cubicBezTo>
                  <a:cubicBezTo>
                    <a:pt x="5276" y="1198"/>
                    <a:pt x="5298" y="1208"/>
                    <a:pt x="5320" y="1219"/>
                  </a:cubicBezTo>
                  <a:cubicBezTo>
                    <a:pt x="5342" y="1230"/>
                    <a:pt x="5335" y="1172"/>
                    <a:pt x="5320" y="1152"/>
                  </a:cubicBezTo>
                  <a:cubicBezTo>
                    <a:pt x="5305" y="1132"/>
                    <a:pt x="5309" y="1096"/>
                    <a:pt x="5305" y="1067"/>
                  </a:cubicBezTo>
                  <a:cubicBezTo>
                    <a:pt x="5300" y="1037"/>
                    <a:pt x="5320" y="1006"/>
                    <a:pt x="5320" y="982"/>
                  </a:cubicBezTo>
                  <a:cubicBezTo>
                    <a:pt x="5320" y="957"/>
                    <a:pt x="5342" y="950"/>
                    <a:pt x="5370" y="932"/>
                  </a:cubicBezTo>
                  <a:cubicBezTo>
                    <a:pt x="5399" y="913"/>
                    <a:pt x="5388" y="839"/>
                    <a:pt x="5364" y="811"/>
                  </a:cubicBezTo>
                  <a:cubicBezTo>
                    <a:pt x="5340" y="783"/>
                    <a:pt x="5351" y="737"/>
                    <a:pt x="5346" y="694"/>
                  </a:cubicBezTo>
                  <a:cubicBezTo>
                    <a:pt x="5342" y="652"/>
                    <a:pt x="5366" y="605"/>
                    <a:pt x="5379" y="587"/>
                  </a:cubicBezTo>
                  <a:cubicBezTo>
                    <a:pt x="5392" y="568"/>
                    <a:pt x="5407" y="539"/>
                    <a:pt x="5390" y="511"/>
                  </a:cubicBezTo>
                  <a:cubicBezTo>
                    <a:pt x="5372" y="483"/>
                    <a:pt x="5421" y="465"/>
                    <a:pt x="5418" y="437"/>
                  </a:cubicBezTo>
                  <a:cubicBezTo>
                    <a:pt x="5416" y="409"/>
                    <a:pt x="5370" y="400"/>
                    <a:pt x="5329" y="368"/>
                  </a:cubicBezTo>
                  <a:cubicBezTo>
                    <a:pt x="5287" y="337"/>
                    <a:pt x="5314" y="322"/>
                    <a:pt x="5248" y="316"/>
                  </a:cubicBezTo>
                  <a:cubicBezTo>
                    <a:pt x="5182" y="311"/>
                    <a:pt x="5189" y="366"/>
                    <a:pt x="5150" y="405"/>
                  </a:cubicBezTo>
                  <a:cubicBezTo>
                    <a:pt x="5110" y="444"/>
                    <a:pt x="5084" y="427"/>
                    <a:pt x="5032" y="439"/>
                  </a:cubicBezTo>
                  <a:cubicBezTo>
                    <a:pt x="4979" y="450"/>
                    <a:pt x="4914" y="472"/>
                    <a:pt x="4861" y="466"/>
                  </a:cubicBezTo>
                  <a:cubicBezTo>
                    <a:pt x="4809" y="461"/>
                    <a:pt x="4783" y="422"/>
                    <a:pt x="4776" y="389"/>
                  </a:cubicBezTo>
                  <a:cubicBezTo>
                    <a:pt x="4770" y="355"/>
                    <a:pt x="4757" y="316"/>
                    <a:pt x="4757" y="266"/>
                  </a:cubicBezTo>
                  <a:cubicBezTo>
                    <a:pt x="4757" y="216"/>
                    <a:pt x="4743" y="238"/>
                    <a:pt x="4717" y="238"/>
                  </a:cubicBezTo>
                  <a:cubicBezTo>
                    <a:pt x="4691" y="238"/>
                    <a:pt x="4684" y="227"/>
                    <a:pt x="4665" y="199"/>
                  </a:cubicBezTo>
                  <a:cubicBezTo>
                    <a:pt x="4645" y="172"/>
                    <a:pt x="4619" y="199"/>
                    <a:pt x="4619" y="233"/>
                  </a:cubicBezTo>
                  <a:cubicBezTo>
                    <a:pt x="4619" y="266"/>
                    <a:pt x="4599" y="283"/>
                    <a:pt x="4573" y="250"/>
                  </a:cubicBezTo>
                  <a:cubicBezTo>
                    <a:pt x="4547" y="216"/>
                    <a:pt x="4540" y="227"/>
                    <a:pt x="4475" y="216"/>
                  </a:cubicBezTo>
                  <a:cubicBezTo>
                    <a:pt x="4409" y="205"/>
                    <a:pt x="4475" y="149"/>
                    <a:pt x="4508" y="111"/>
                  </a:cubicBezTo>
                  <a:cubicBezTo>
                    <a:pt x="4540" y="72"/>
                    <a:pt x="4514" y="61"/>
                    <a:pt x="4475" y="33"/>
                  </a:cubicBezTo>
                  <a:cubicBezTo>
                    <a:pt x="4464" y="25"/>
                    <a:pt x="4454" y="13"/>
                    <a:pt x="4445" y="0"/>
                  </a:cubicBezTo>
                  <a:cubicBezTo>
                    <a:pt x="4418" y="4"/>
                    <a:pt x="4389" y="5"/>
                    <a:pt x="4375" y="22"/>
                  </a:cubicBezTo>
                  <a:cubicBezTo>
                    <a:pt x="4355" y="44"/>
                    <a:pt x="4301" y="126"/>
                    <a:pt x="4280" y="147"/>
                  </a:cubicBezTo>
                  <a:cubicBezTo>
                    <a:pt x="4259" y="168"/>
                    <a:pt x="4231" y="179"/>
                    <a:pt x="4242" y="201"/>
                  </a:cubicBezTo>
                  <a:cubicBezTo>
                    <a:pt x="4254" y="223"/>
                    <a:pt x="4270" y="241"/>
                    <a:pt x="4291" y="226"/>
                  </a:cubicBezTo>
                  <a:cubicBezTo>
                    <a:pt x="4313" y="211"/>
                    <a:pt x="4360" y="198"/>
                    <a:pt x="4370" y="226"/>
                  </a:cubicBezTo>
                  <a:cubicBezTo>
                    <a:pt x="4380" y="254"/>
                    <a:pt x="4370" y="248"/>
                    <a:pt x="4372" y="269"/>
                  </a:cubicBezTo>
                  <a:cubicBezTo>
                    <a:pt x="4373" y="290"/>
                    <a:pt x="4399" y="291"/>
                    <a:pt x="4408" y="315"/>
                  </a:cubicBezTo>
                  <a:cubicBezTo>
                    <a:pt x="4416" y="338"/>
                    <a:pt x="4409" y="376"/>
                    <a:pt x="4396" y="393"/>
                  </a:cubicBezTo>
                  <a:cubicBezTo>
                    <a:pt x="4383" y="409"/>
                    <a:pt x="4332" y="437"/>
                    <a:pt x="4319" y="465"/>
                  </a:cubicBezTo>
                  <a:cubicBezTo>
                    <a:pt x="4306" y="493"/>
                    <a:pt x="4301" y="528"/>
                    <a:pt x="4303" y="541"/>
                  </a:cubicBezTo>
                  <a:cubicBezTo>
                    <a:pt x="4304" y="555"/>
                    <a:pt x="4303" y="565"/>
                    <a:pt x="4288" y="573"/>
                  </a:cubicBezTo>
                  <a:cubicBezTo>
                    <a:pt x="4273" y="582"/>
                    <a:pt x="4270" y="594"/>
                    <a:pt x="4277" y="615"/>
                  </a:cubicBezTo>
                  <a:cubicBezTo>
                    <a:pt x="4283" y="636"/>
                    <a:pt x="4277" y="644"/>
                    <a:pt x="4264" y="655"/>
                  </a:cubicBezTo>
                  <a:cubicBezTo>
                    <a:pt x="4250" y="667"/>
                    <a:pt x="4249" y="673"/>
                    <a:pt x="4254" y="696"/>
                  </a:cubicBezTo>
                  <a:cubicBezTo>
                    <a:pt x="4259" y="718"/>
                    <a:pt x="4254" y="730"/>
                    <a:pt x="4239" y="747"/>
                  </a:cubicBezTo>
                  <a:cubicBezTo>
                    <a:pt x="4224" y="764"/>
                    <a:pt x="4209" y="780"/>
                    <a:pt x="4211" y="799"/>
                  </a:cubicBezTo>
                  <a:cubicBezTo>
                    <a:pt x="4213" y="817"/>
                    <a:pt x="4205" y="826"/>
                    <a:pt x="4218" y="837"/>
                  </a:cubicBezTo>
                  <a:cubicBezTo>
                    <a:pt x="4231" y="849"/>
                    <a:pt x="4249" y="840"/>
                    <a:pt x="4252" y="867"/>
                  </a:cubicBezTo>
                  <a:cubicBezTo>
                    <a:pt x="4255" y="893"/>
                    <a:pt x="4247" y="918"/>
                    <a:pt x="4223" y="928"/>
                  </a:cubicBezTo>
                  <a:cubicBezTo>
                    <a:pt x="4198" y="938"/>
                    <a:pt x="4162" y="938"/>
                    <a:pt x="4144" y="957"/>
                  </a:cubicBezTo>
                  <a:cubicBezTo>
                    <a:pt x="4126" y="976"/>
                    <a:pt x="4069" y="1024"/>
                    <a:pt x="4047" y="1047"/>
                  </a:cubicBezTo>
                  <a:cubicBezTo>
                    <a:pt x="4026" y="1071"/>
                    <a:pt x="4011" y="1111"/>
                    <a:pt x="3957" y="1090"/>
                  </a:cubicBezTo>
                  <a:cubicBezTo>
                    <a:pt x="3903" y="1070"/>
                    <a:pt x="3938" y="1056"/>
                    <a:pt x="3888" y="1058"/>
                  </a:cubicBezTo>
                  <a:cubicBezTo>
                    <a:pt x="3850" y="1061"/>
                    <a:pt x="3806" y="1053"/>
                    <a:pt x="3777" y="1036"/>
                  </a:cubicBezTo>
                  <a:cubicBezTo>
                    <a:pt x="3771" y="1061"/>
                    <a:pt x="3765" y="1086"/>
                    <a:pt x="3764" y="1100"/>
                  </a:cubicBezTo>
                  <a:cubicBezTo>
                    <a:pt x="3761" y="1134"/>
                    <a:pt x="3738" y="1181"/>
                    <a:pt x="3725" y="1225"/>
                  </a:cubicBezTo>
                  <a:cubicBezTo>
                    <a:pt x="3711" y="1270"/>
                    <a:pt x="3705" y="1298"/>
                    <a:pt x="3695" y="1339"/>
                  </a:cubicBezTo>
                  <a:cubicBezTo>
                    <a:pt x="3685" y="1381"/>
                    <a:pt x="3675" y="1384"/>
                    <a:pt x="3675" y="1423"/>
                  </a:cubicBezTo>
                  <a:cubicBezTo>
                    <a:pt x="3675" y="1462"/>
                    <a:pt x="3666" y="1462"/>
                    <a:pt x="3636" y="1459"/>
                  </a:cubicBezTo>
                  <a:cubicBezTo>
                    <a:pt x="3607" y="1456"/>
                    <a:pt x="3623" y="1487"/>
                    <a:pt x="3630" y="1506"/>
                  </a:cubicBezTo>
                  <a:cubicBezTo>
                    <a:pt x="3636" y="1525"/>
                    <a:pt x="3649" y="1550"/>
                    <a:pt x="3682" y="1581"/>
                  </a:cubicBezTo>
                  <a:cubicBezTo>
                    <a:pt x="3715" y="1612"/>
                    <a:pt x="3725" y="1584"/>
                    <a:pt x="3751" y="1559"/>
                  </a:cubicBezTo>
                  <a:cubicBezTo>
                    <a:pt x="3777" y="1534"/>
                    <a:pt x="3787" y="1537"/>
                    <a:pt x="3810" y="1545"/>
                  </a:cubicBezTo>
                  <a:cubicBezTo>
                    <a:pt x="3833" y="1553"/>
                    <a:pt x="3872" y="1523"/>
                    <a:pt x="3892" y="1520"/>
                  </a:cubicBezTo>
                  <a:cubicBezTo>
                    <a:pt x="3911" y="1517"/>
                    <a:pt x="3951" y="1545"/>
                    <a:pt x="3970" y="1564"/>
                  </a:cubicBezTo>
                  <a:cubicBezTo>
                    <a:pt x="3990" y="1584"/>
                    <a:pt x="4016" y="1564"/>
                    <a:pt x="4016" y="1553"/>
                  </a:cubicBezTo>
                  <a:cubicBezTo>
                    <a:pt x="4016" y="1542"/>
                    <a:pt x="4042" y="1492"/>
                    <a:pt x="4055" y="1467"/>
                  </a:cubicBezTo>
                  <a:cubicBezTo>
                    <a:pt x="4069" y="1442"/>
                    <a:pt x="4101" y="1453"/>
                    <a:pt x="4134" y="1445"/>
                  </a:cubicBezTo>
                  <a:cubicBezTo>
                    <a:pt x="4167" y="1437"/>
                    <a:pt x="4213" y="1450"/>
                    <a:pt x="4223" y="1467"/>
                  </a:cubicBezTo>
                  <a:cubicBezTo>
                    <a:pt x="4232" y="1484"/>
                    <a:pt x="4291" y="1500"/>
                    <a:pt x="4314" y="1498"/>
                  </a:cubicBezTo>
                  <a:cubicBezTo>
                    <a:pt x="4337" y="1495"/>
                    <a:pt x="4344" y="1523"/>
                    <a:pt x="4344" y="1542"/>
                  </a:cubicBezTo>
                  <a:cubicBezTo>
                    <a:pt x="4344" y="1562"/>
                    <a:pt x="4399" y="1564"/>
                    <a:pt x="4439" y="1592"/>
                  </a:cubicBezTo>
                  <a:cubicBezTo>
                    <a:pt x="4478" y="1620"/>
                    <a:pt x="4481" y="1637"/>
                    <a:pt x="4511" y="1659"/>
                  </a:cubicBezTo>
                  <a:cubicBezTo>
                    <a:pt x="4540" y="1681"/>
                    <a:pt x="4544" y="1717"/>
                    <a:pt x="4527" y="1748"/>
                  </a:cubicBezTo>
                  <a:cubicBezTo>
                    <a:pt x="4511" y="1778"/>
                    <a:pt x="4491" y="1778"/>
                    <a:pt x="4429" y="1778"/>
                  </a:cubicBezTo>
                  <a:cubicBezTo>
                    <a:pt x="4367" y="1778"/>
                    <a:pt x="4373" y="1778"/>
                    <a:pt x="4360" y="1762"/>
                  </a:cubicBezTo>
                  <a:cubicBezTo>
                    <a:pt x="4347" y="1745"/>
                    <a:pt x="4311" y="1773"/>
                    <a:pt x="4311" y="1773"/>
                  </a:cubicBezTo>
                  <a:cubicBezTo>
                    <a:pt x="4311" y="1773"/>
                    <a:pt x="4282" y="1776"/>
                    <a:pt x="4229" y="1767"/>
                  </a:cubicBezTo>
                  <a:cubicBezTo>
                    <a:pt x="4177" y="1759"/>
                    <a:pt x="4183" y="1795"/>
                    <a:pt x="4147" y="1826"/>
                  </a:cubicBezTo>
                  <a:cubicBezTo>
                    <a:pt x="4111" y="1856"/>
                    <a:pt x="4114" y="1853"/>
                    <a:pt x="4108" y="1831"/>
                  </a:cubicBezTo>
                  <a:cubicBezTo>
                    <a:pt x="4101" y="1809"/>
                    <a:pt x="4055" y="1840"/>
                    <a:pt x="4052" y="1879"/>
                  </a:cubicBezTo>
                  <a:cubicBezTo>
                    <a:pt x="4049" y="1917"/>
                    <a:pt x="4036" y="1898"/>
                    <a:pt x="3980" y="1898"/>
                  </a:cubicBezTo>
                  <a:cubicBezTo>
                    <a:pt x="3924" y="1898"/>
                    <a:pt x="3977" y="1920"/>
                    <a:pt x="3918" y="1954"/>
                  </a:cubicBezTo>
                  <a:cubicBezTo>
                    <a:pt x="3859" y="1987"/>
                    <a:pt x="3852" y="2023"/>
                    <a:pt x="3865" y="2051"/>
                  </a:cubicBezTo>
                  <a:cubicBezTo>
                    <a:pt x="3879" y="2079"/>
                    <a:pt x="3885" y="2081"/>
                    <a:pt x="3843" y="2098"/>
                  </a:cubicBezTo>
                  <a:cubicBezTo>
                    <a:pt x="3800" y="2115"/>
                    <a:pt x="3813" y="2143"/>
                    <a:pt x="3748" y="2179"/>
                  </a:cubicBezTo>
                  <a:cubicBezTo>
                    <a:pt x="3682" y="2215"/>
                    <a:pt x="3646" y="2201"/>
                    <a:pt x="3594" y="2198"/>
                  </a:cubicBezTo>
                  <a:cubicBezTo>
                    <a:pt x="3541" y="2195"/>
                    <a:pt x="3551" y="2234"/>
                    <a:pt x="3518" y="2268"/>
                  </a:cubicBezTo>
                  <a:cubicBezTo>
                    <a:pt x="3485" y="2301"/>
                    <a:pt x="3505" y="2315"/>
                    <a:pt x="3453" y="2332"/>
                  </a:cubicBezTo>
                  <a:cubicBezTo>
                    <a:pt x="3400" y="2348"/>
                    <a:pt x="3410" y="2368"/>
                    <a:pt x="3361" y="2387"/>
                  </a:cubicBezTo>
                  <a:cubicBezTo>
                    <a:pt x="3312" y="2407"/>
                    <a:pt x="3266" y="2398"/>
                    <a:pt x="3227" y="2393"/>
                  </a:cubicBezTo>
                  <a:cubicBezTo>
                    <a:pt x="3187" y="2387"/>
                    <a:pt x="3174" y="2387"/>
                    <a:pt x="3148" y="2357"/>
                  </a:cubicBezTo>
                  <a:cubicBezTo>
                    <a:pt x="3122" y="2326"/>
                    <a:pt x="3105" y="2343"/>
                    <a:pt x="3060" y="2343"/>
                  </a:cubicBezTo>
                  <a:cubicBezTo>
                    <a:pt x="3014" y="2343"/>
                    <a:pt x="2991" y="2373"/>
                    <a:pt x="2981" y="2401"/>
                  </a:cubicBezTo>
                  <a:cubicBezTo>
                    <a:pt x="2971" y="2429"/>
                    <a:pt x="2965" y="2457"/>
                    <a:pt x="2945" y="2498"/>
                  </a:cubicBezTo>
                  <a:cubicBezTo>
                    <a:pt x="2925" y="2540"/>
                    <a:pt x="2945" y="2529"/>
                    <a:pt x="2961" y="2571"/>
                  </a:cubicBezTo>
                  <a:cubicBezTo>
                    <a:pt x="2978" y="2612"/>
                    <a:pt x="3004" y="2601"/>
                    <a:pt x="3037" y="2623"/>
                  </a:cubicBezTo>
                  <a:cubicBezTo>
                    <a:pt x="3069" y="2646"/>
                    <a:pt x="3073" y="2654"/>
                    <a:pt x="3063" y="2682"/>
                  </a:cubicBezTo>
                  <a:cubicBezTo>
                    <a:pt x="3053" y="2710"/>
                    <a:pt x="3007" y="2729"/>
                    <a:pt x="2974" y="2749"/>
                  </a:cubicBezTo>
                  <a:cubicBezTo>
                    <a:pt x="2942" y="2768"/>
                    <a:pt x="2915" y="2785"/>
                    <a:pt x="2883" y="2807"/>
                  </a:cubicBezTo>
                  <a:cubicBezTo>
                    <a:pt x="2850" y="2829"/>
                    <a:pt x="2850" y="2865"/>
                    <a:pt x="2804" y="2921"/>
                  </a:cubicBezTo>
                  <a:cubicBezTo>
                    <a:pt x="2758" y="2977"/>
                    <a:pt x="2758" y="2982"/>
                    <a:pt x="2702" y="2993"/>
                  </a:cubicBezTo>
                  <a:cubicBezTo>
                    <a:pt x="2647" y="3004"/>
                    <a:pt x="2657" y="3007"/>
                    <a:pt x="2614" y="3038"/>
                  </a:cubicBezTo>
                  <a:cubicBezTo>
                    <a:pt x="2571" y="3068"/>
                    <a:pt x="2529" y="3049"/>
                    <a:pt x="2483" y="3068"/>
                  </a:cubicBezTo>
                  <a:cubicBezTo>
                    <a:pt x="2437" y="3088"/>
                    <a:pt x="2414" y="3079"/>
                    <a:pt x="2381" y="3068"/>
                  </a:cubicBezTo>
                  <a:cubicBezTo>
                    <a:pt x="2349" y="3057"/>
                    <a:pt x="2332" y="3071"/>
                    <a:pt x="2306" y="3079"/>
                  </a:cubicBezTo>
                  <a:cubicBezTo>
                    <a:pt x="2280" y="3088"/>
                    <a:pt x="2234" y="3091"/>
                    <a:pt x="2178" y="3079"/>
                  </a:cubicBezTo>
                  <a:cubicBezTo>
                    <a:pt x="2123" y="3068"/>
                    <a:pt x="2149" y="3082"/>
                    <a:pt x="2116" y="3104"/>
                  </a:cubicBezTo>
                  <a:cubicBezTo>
                    <a:pt x="2083" y="3127"/>
                    <a:pt x="2070" y="3124"/>
                    <a:pt x="1992" y="3135"/>
                  </a:cubicBezTo>
                  <a:cubicBezTo>
                    <a:pt x="1913" y="3146"/>
                    <a:pt x="1824" y="3213"/>
                    <a:pt x="1756" y="3241"/>
                  </a:cubicBezTo>
                  <a:cubicBezTo>
                    <a:pt x="1687" y="3268"/>
                    <a:pt x="1713" y="3280"/>
                    <a:pt x="1661" y="3327"/>
                  </a:cubicBezTo>
                  <a:cubicBezTo>
                    <a:pt x="1608" y="3374"/>
                    <a:pt x="1592" y="3332"/>
                    <a:pt x="1553" y="3324"/>
                  </a:cubicBezTo>
                  <a:cubicBezTo>
                    <a:pt x="1513" y="3316"/>
                    <a:pt x="1543" y="3299"/>
                    <a:pt x="1536" y="3260"/>
                  </a:cubicBezTo>
                  <a:cubicBezTo>
                    <a:pt x="1530" y="3221"/>
                    <a:pt x="1494" y="3257"/>
                    <a:pt x="1467" y="3271"/>
                  </a:cubicBezTo>
                  <a:cubicBezTo>
                    <a:pt x="1441" y="3285"/>
                    <a:pt x="1405" y="3280"/>
                    <a:pt x="1372" y="3280"/>
                  </a:cubicBezTo>
                  <a:cubicBezTo>
                    <a:pt x="1340" y="3280"/>
                    <a:pt x="1245" y="3243"/>
                    <a:pt x="1215" y="3229"/>
                  </a:cubicBezTo>
                  <a:cubicBezTo>
                    <a:pt x="1186" y="3216"/>
                    <a:pt x="1123" y="3210"/>
                    <a:pt x="1051" y="3191"/>
                  </a:cubicBezTo>
                  <a:cubicBezTo>
                    <a:pt x="979" y="3171"/>
                    <a:pt x="1025" y="3152"/>
                    <a:pt x="989" y="3118"/>
                  </a:cubicBezTo>
                  <a:cubicBezTo>
                    <a:pt x="953" y="3085"/>
                    <a:pt x="907" y="3096"/>
                    <a:pt x="861" y="3093"/>
                  </a:cubicBezTo>
                  <a:cubicBezTo>
                    <a:pt x="815" y="3091"/>
                    <a:pt x="799" y="3091"/>
                    <a:pt x="753" y="3085"/>
                  </a:cubicBezTo>
                  <a:cubicBezTo>
                    <a:pt x="707" y="3079"/>
                    <a:pt x="707" y="3074"/>
                    <a:pt x="648" y="3057"/>
                  </a:cubicBezTo>
                  <a:cubicBezTo>
                    <a:pt x="589" y="3040"/>
                    <a:pt x="543" y="3071"/>
                    <a:pt x="491" y="3088"/>
                  </a:cubicBezTo>
                  <a:cubicBezTo>
                    <a:pt x="439" y="3104"/>
                    <a:pt x="435" y="3085"/>
                    <a:pt x="380" y="3082"/>
                  </a:cubicBezTo>
                  <a:cubicBezTo>
                    <a:pt x="324" y="3079"/>
                    <a:pt x="294" y="3077"/>
                    <a:pt x="245" y="3071"/>
                  </a:cubicBezTo>
                  <a:cubicBezTo>
                    <a:pt x="196" y="3065"/>
                    <a:pt x="173" y="3071"/>
                    <a:pt x="137" y="3043"/>
                  </a:cubicBezTo>
                  <a:cubicBezTo>
                    <a:pt x="101" y="3015"/>
                    <a:pt x="82" y="3049"/>
                    <a:pt x="59" y="3054"/>
                  </a:cubicBezTo>
                  <a:cubicBezTo>
                    <a:pt x="45" y="3058"/>
                    <a:pt x="34" y="3057"/>
                    <a:pt x="18" y="3050"/>
                  </a:cubicBezTo>
                  <a:cubicBezTo>
                    <a:pt x="19" y="3100"/>
                    <a:pt x="34" y="3164"/>
                    <a:pt x="43" y="3189"/>
                  </a:cubicBezTo>
                  <a:cubicBezTo>
                    <a:pt x="56" y="3222"/>
                    <a:pt x="52" y="3241"/>
                    <a:pt x="26" y="3270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" name="Freeform 13"/>
            <p:cNvSpPr>
              <a:spLocks/>
            </p:cNvSpPr>
            <p:nvPr/>
          </p:nvSpPr>
          <p:spPr bwMode="auto">
            <a:xfrm>
              <a:off x="3796" y="3407"/>
              <a:ext cx="875" cy="659"/>
            </a:xfrm>
            <a:custGeom>
              <a:avLst/>
              <a:gdLst>
                <a:gd name="T0" fmla="*/ 1778 w 1889"/>
                <a:gd name="T1" fmla="*/ 152 h 1423"/>
                <a:gd name="T2" fmla="*/ 1673 w 1889"/>
                <a:gd name="T3" fmla="*/ 115 h 1423"/>
                <a:gd name="T4" fmla="*/ 1507 w 1889"/>
                <a:gd name="T5" fmla="*/ 82 h 1423"/>
                <a:gd name="T6" fmla="*/ 1385 w 1889"/>
                <a:gd name="T7" fmla="*/ 134 h 1423"/>
                <a:gd name="T8" fmla="*/ 1127 w 1889"/>
                <a:gd name="T9" fmla="*/ 215 h 1423"/>
                <a:gd name="T10" fmla="*/ 1210 w 1889"/>
                <a:gd name="T11" fmla="*/ 59 h 1423"/>
                <a:gd name="T12" fmla="*/ 1127 w 1889"/>
                <a:gd name="T13" fmla="*/ 22 h 1423"/>
                <a:gd name="T14" fmla="*/ 1012 w 1889"/>
                <a:gd name="T15" fmla="*/ 3 h 1423"/>
                <a:gd name="T16" fmla="*/ 861 w 1889"/>
                <a:gd name="T17" fmla="*/ 28 h 1423"/>
                <a:gd name="T18" fmla="*/ 758 w 1889"/>
                <a:gd name="T19" fmla="*/ 56 h 1423"/>
                <a:gd name="T20" fmla="*/ 686 w 1889"/>
                <a:gd name="T21" fmla="*/ 126 h 1423"/>
                <a:gd name="T22" fmla="*/ 570 w 1889"/>
                <a:gd name="T23" fmla="*/ 193 h 1423"/>
                <a:gd name="T24" fmla="*/ 520 w 1889"/>
                <a:gd name="T25" fmla="*/ 263 h 1423"/>
                <a:gd name="T26" fmla="*/ 536 w 1889"/>
                <a:gd name="T27" fmla="*/ 356 h 1423"/>
                <a:gd name="T28" fmla="*/ 444 w 1889"/>
                <a:gd name="T29" fmla="*/ 514 h 1423"/>
                <a:gd name="T30" fmla="*/ 383 w 1889"/>
                <a:gd name="T31" fmla="*/ 743 h 1423"/>
                <a:gd name="T32" fmla="*/ 267 w 1889"/>
                <a:gd name="T33" fmla="*/ 853 h 1423"/>
                <a:gd name="T34" fmla="*/ 190 w 1889"/>
                <a:gd name="T35" fmla="*/ 912 h 1423"/>
                <a:gd name="T36" fmla="*/ 83 w 1889"/>
                <a:gd name="T37" fmla="*/ 997 h 1423"/>
                <a:gd name="T38" fmla="*/ 29 w 1889"/>
                <a:gd name="T39" fmla="*/ 1064 h 1423"/>
                <a:gd name="T40" fmla="*/ 44 w 1889"/>
                <a:gd name="T41" fmla="*/ 1116 h 1423"/>
                <a:gd name="T42" fmla="*/ 22 w 1889"/>
                <a:gd name="T43" fmla="*/ 1223 h 1423"/>
                <a:gd name="T44" fmla="*/ 70 w 1889"/>
                <a:gd name="T45" fmla="*/ 1353 h 1423"/>
                <a:gd name="T46" fmla="*/ 254 w 1889"/>
                <a:gd name="T47" fmla="*/ 1375 h 1423"/>
                <a:gd name="T48" fmla="*/ 201 w 1889"/>
                <a:gd name="T49" fmla="*/ 1249 h 1423"/>
                <a:gd name="T50" fmla="*/ 232 w 1889"/>
                <a:gd name="T51" fmla="*/ 1157 h 1423"/>
                <a:gd name="T52" fmla="*/ 346 w 1889"/>
                <a:gd name="T53" fmla="*/ 1097 h 1423"/>
                <a:gd name="T54" fmla="*/ 564 w 1889"/>
                <a:gd name="T55" fmla="*/ 1019 h 1423"/>
                <a:gd name="T56" fmla="*/ 743 w 1889"/>
                <a:gd name="T57" fmla="*/ 971 h 1423"/>
                <a:gd name="T58" fmla="*/ 883 w 1889"/>
                <a:gd name="T59" fmla="*/ 897 h 1423"/>
                <a:gd name="T60" fmla="*/ 1014 w 1889"/>
                <a:gd name="T61" fmla="*/ 827 h 1423"/>
                <a:gd name="T62" fmla="*/ 979 w 1889"/>
                <a:gd name="T63" fmla="*/ 693 h 1423"/>
                <a:gd name="T64" fmla="*/ 1088 w 1889"/>
                <a:gd name="T65" fmla="*/ 730 h 1423"/>
                <a:gd name="T66" fmla="*/ 1237 w 1889"/>
                <a:gd name="T67" fmla="*/ 738 h 1423"/>
                <a:gd name="T68" fmla="*/ 1328 w 1889"/>
                <a:gd name="T69" fmla="*/ 686 h 1423"/>
                <a:gd name="T70" fmla="*/ 1473 w 1889"/>
                <a:gd name="T71" fmla="*/ 634 h 1423"/>
                <a:gd name="T72" fmla="*/ 1538 w 1889"/>
                <a:gd name="T73" fmla="*/ 597 h 1423"/>
                <a:gd name="T74" fmla="*/ 1748 w 1889"/>
                <a:gd name="T75" fmla="*/ 556 h 1423"/>
                <a:gd name="T76" fmla="*/ 1835 w 1889"/>
                <a:gd name="T77" fmla="*/ 423 h 1423"/>
                <a:gd name="T78" fmla="*/ 1839 w 1889"/>
                <a:gd name="T79" fmla="*/ 267 h 1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89" h="1423">
                  <a:moveTo>
                    <a:pt x="1839" y="267"/>
                  </a:moveTo>
                  <a:cubicBezTo>
                    <a:pt x="1844" y="211"/>
                    <a:pt x="1787" y="182"/>
                    <a:pt x="1778" y="152"/>
                  </a:cubicBezTo>
                  <a:cubicBezTo>
                    <a:pt x="1770" y="123"/>
                    <a:pt x="1765" y="100"/>
                    <a:pt x="1743" y="119"/>
                  </a:cubicBezTo>
                  <a:cubicBezTo>
                    <a:pt x="1722" y="137"/>
                    <a:pt x="1687" y="134"/>
                    <a:pt x="1673" y="115"/>
                  </a:cubicBezTo>
                  <a:cubicBezTo>
                    <a:pt x="1660" y="97"/>
                    <a:pt x="1639" y="78"/>
                    <a:pt x="1617" y="82"/>
                  </a:cubicBezTo>
                  <a:cubicBezTo>
                    <a:pt x="1595" y="85"/>
                    <a:pt x="1521" y="52"/>
                    <a:pt x="1507" y="82"/>
                  </a:cubicBezTo>
                  <a:cubicBezTo>
                    <a:pt x="1494" y="111"/>
                    <a:pt x="1521" y="189"/>
                    <a:pt x="1486" y="174"/>
                  </a:cubicBezTo>
                  <a:cubicBezTo>
                    <a:pt x="1451" y="160"/>
                    <a:pt x="1420" y="104"/>
                    <a:pt x="1385" y="134"/>
                  </a:cubicBezTo>
                  <a:cubicBezTo>
                    <a:pt x="1350" y="163"/>
                    <a:pt x="1298" y="152"/>
                    <a:pt x="1254" y="186"/>
                  </a:cubicBezTo>
                  <a:cubicBezTo>
                    <a:pt x="1210" y="219"/>
                    <a:pt x="1162" y="245"/>
                    <a:pt x="1127" y="215"/>
                  </a:cubicBezTo>
                  <a:cubicBezTo>
                    <a:pt x="1093" y="186"/>
                    <a:pt x="1084" y="152"/>
                    <a:pt x="1132" y="126"/>
                  </a:cubicBezTo>
                  <a:cubicBezTo>
                    <a:pt x="1180" y="100"/>
                    <a:pt x="1206" y="82"/>
                    <a:pt x="1210" y="59"/>
                  </a:cubicBezTo>
                  <a:cubicBezTo>
                    <a:pt x="1215" y="37"/>
                    <a:pt x="1206" y="22"/>
                    <a:pt x="1189" y="11"/>
                  </a:cubicBezTo>
                  <a:cubicBezTo>
                    <a:pt x="1171" y="0"/>
                    <a:pt x="1167" y="0"/>
                    <a:pt x="1127" y="22"/>
                  </a:cubicBezTo>
                  <a:cubicBezTo>
                    <a:pt x="1088" y="45"/>
                    <a:pt x="1044" y="52"/>
                    <a:pt x="1031" y="30"/>
                  </a:cubicBezTo>
                  <a:cubicBezTo>
                    <a:pt x="1026" y="22"/>
                    <a:pt x="1019" y="13"/>
                    <a:pt x="1012" y="3"/>
                  </a:cubicBezTo>
                  <a:cubicBezTo>
                    <a:pt x="983" y="24"/>
                    <a:pt x="958" y="34"/>
                    <a:pt x="929" y="45"/>
                  </a:cubicBezTo>
                  <a:cubicBezTo>
                    <a:pt x="892" y="58"/>
                    <a:pt x="887" y="41"/>
                    <a:pt x="861" y="28"/>
                  </a:cubicBezTo>
                  <a:cubicBezTo>
                    <a:pt x="835" y="15"/>
                    <a:pt x="839" y="6"/>
                    <a:pt x="819" y="8"/>
                  </a:cubicBezTo>
                  <a:cubicBezTo>
                    <a:pt x="800" y="9"/>
                    <a:pt x="791" y="41"/>
                    <a:pt x="758" y="56"/>
                  </a:cubicBezTo>
                  <a:cubicBezTo>
                    <a:pt x="726" y="71"/>
                    <a:pt x="780" y="80"/>
                    <a:pt x="765" y="132"/>
                  </a:cubicBezTo>
                  <a:cubicBezTo>
                    <a:pt x="750" y="184"/>
                    <a:pt x="741" y="152"/>
                    <a:pt x="686" y="126"/>
                  </a:cubicBezTo>
                  <a:cubicBezTo>
                    <a:pt x="632" y="100"/>
                    <a:pt x="610" y="119"/>
                    <a:pt x="575" y="132"/>
                  </a:cubicBezTo>
                  <a:cubicBezTo>
                    <a:pt x="540" y="145"/>
                    <a:pt x="560" y="163"/>
                    <a:pt x="570" y="193"/>
                  </a:cubicBezTo>
                  <a:cubicBezTo>
                    <a:pt x="581" y="223"/>
                    <a:pt x="573" y="221"/>
                    <a:pt x="553" y="223"/>
                  </a:cubicBezTo>
                  <a:cubicBezTo>
                    <a:pt x="503" y="226"/>
                    <a:pt x="529" y="234"/>
                    <a:pt x="520" y="263"/>
                  </a:cubicBezTo>
                  <a:cubicBezTo>
                    <a:pt x="512" y="293"/>
                    <a:pt x="538" y="289"/>
                    <a:pt x="549" y="313"/>
                  </a:cubicBezTo>
                  <a:cubicBezTo>
                    <a:pt x="560" y="337"/>
                    <a:pt x="557" y="343"/>
                    <a:pt x="536" y="356"/>
                  </a:cubicBezTo>
                  <a:cubicBezTo>
                    <a:pt x="514" y="369"/>
                    <a:pt x="522" y="391"/>
                    <a:pt x="520" y="432"/>
                  </a:cubicBezTo>
                  <a:cubicBezTo>
                    <a:pt x="518" y="473"/>
                    <a:pt x="498" y="462"/>
                    <a:pt x="444" y="514"/>
                  </a:cubicBezTo>
                  <a:cubicBezTo>
                    <a:pt x="389" y="565"/>
                    <a:pt x="411" y="636"/>
                    <a:pt x="422" y="669"/>
                  </a:cubicBezTo>
                  <a:cubicBezTo>
                    <a:pt x="433" y="703"/>
                    <a:pt x="407" y="714"/>
                    <a:pt x="383" y="743"/>
                  </a:cubicBezTo>
                  <a:cubicBezTo>
                    <a:pt x="359" y="773"/>
                    <a:pt x="297" y="797"/>
                    <a:pt x="276" y="804"/>
                  </a:cubicBezTo>
                  <a:cubicBezTo>
                    <a:pt x="254" y="812"/>
                    <a:pt x="252" y="830"/>
                    <a:pt x="267" y="853"/>
                  </a:cubicBezTo>
                  <a:cubicBezTo>
                    <a:pt x="282" y="875"/>
                    <a:pt x="267" y="875"/>
                    <a:pt x="256" y="899"/>
                  </a:cubicBezTo>
                  <a:cubicBezTo>
                    <a:pt x="245" y="923"/>
                    <a:pt x="223" y="929"/>
                    <a:pt x="190" y="912"/>
                  </a:cubicBezTo>
                  <a:cubicBezTo>
                    <a:pt x="158" y="895"/>
                    <a:pt x="173" y="925"/>
                    <a:pt x="173" y="968"/>
                  </a:cubicBezTo>
                  <a:cubicBezTo>
                    <a:pt x="173" y="1010"/>
                    <a:pt x="114" y="997"/>
                    <a:pt x="83" y="997"/>
                  </a:cubicBezTo>
                  <a:cubicBezTo>
                    <a:pt x="53" y="997"/>
                    <a:pt x="68" y="1006"/>
                    <a:pt x="68" y="1027"/>
                  </a:cubicBezTo>
                  <a:cubicBezTo>
                    <a:pt x="68" y="1047"/>
                    <a:pt x="51" y="1055"/>
                    <a:pt x="29" y="1064"/>
                  </a:cubicBezTo>
                  <a:cubicBezTo>
                    <a:pt x="19" y="1068"/>
                    <a:pt x="12" y="1080"/>
                    <a:pt x="6" y="1092"/>
                  </a:cubicBezTo>
                  <a:cubicBezTo>
                    <a:pt x="11" y="1116"/>
                    <a:pt x="21" y="1116"/>
                    <a:pt x="44" y="1116"/>
                  </a:cubicBezTo>
                  <a:cubicBezTo>
                    <a:pt x="70" y="1116"/>
                    <a:pt x="92" y="1108"/>
                    <a:pt x="57" y="1145"/>
                  </a:cubicBezTo>
                  <a:cubicBezTo>
                    <a:pt x="22" y="1183"/>
                    <a:pt x="18" y="1190"/>
                    <a:pt x="22" y="1223"/>
                  </a:cubicBezTo>
                  <a:cubicBezTo>
                    <a:pt x="27" y="1257"/>
                    <a:pt x="0" y="1279"/>
                    <a:pt x="44" y="1301"/>
                  </a:cubicBezTo>
                  <a:cubicBezTo>
                    <a:pt x="88" y="1323"/>
                    <a:pt x="44" y="1309"/>
                    <a:pt x="70" y="1353"/>
                  </a:cubicBezTo>
                  <a:cubicBezTo>
                    <a:pt x="97" y="1398"/>
                    <a:pt x="40" y="1394"/>
                    <a:pt x="123" y="1398"/>
                  </a:cubicBezTo>
                  <a:cubicBezTo>
                    <a:pt x="206" y="1401"/>
                    <a:pt x="241" y="1423"/>
                    <a:pt x="254" y="1375"/>
                  </a:cubicBezTo>
                  <a:cubicBezTo>
                    <a:pt x="267" y="1327"/>
                    <a:pt x="197" y="1305"/>
                    <a:pt x="210" y="1286"/>
                  </a:cubicBezTo>
                  <a:cubicBezTo>
                    <a:pt x="223" y="1268"/>
                    <a:pt x="245" y="1246"/>
                    <a:pt x="201" y="1249"/>
                  </a:cubicBezTo>
                  <a:cubicBezTo>
                    <a:pt x="158" y="1253"/>
                    <a:pt x="132" y="1242"/>
                    <a:pt x="162" y="1216"/>
                  </a:cubicBezTo>
                  <a:cubicBezTo>
                    <a:pt x="193" y="1190"/>
                    <a:pt x="193" y="1153"/>
                    <a:pt x="232" y="1157"/>
                  </a:cubicBezTo>
                  <a:cubicBezTo>
                    <a:pt x="271" y="1160"/>
                    <a:pt x="267" y="1153"/>
                    <a:pt x="284" y="1131"/>
                  </a:cubicBezTo>
                  <a:cubicBezTo>
                    <a:pt x="302" y="1108"/>
                    <a:pt x="315" y="1097"/>
                    <a:pt x="346" y="1097"/>
                  </a:cubicBezTo>
                  <a:cubicBezTo>
                    <a:pt x="376" y="1097"/>
                    <a:pt x="450" y="1060"/>
                    <a:pt x="481" y="1057"/>
                  </a:cubicBezTo>
                  <a:cubicBezTo>
                    <a:pt x="512" y="1053"/>
                    <a:pt x="551" y="1060"/>
                    <a:pt x="564" y="1019"/>
                  </a:cubicBezTo>
                  <a:cubicBezTo>
                    <a:pt x="577" y="979"/>
                    <a:pt x="625" y="949"/>
                    <a:pt x="651" y="964"/>
                  </a:cubicBezTo>
                  <a:cubicBezTo>
                    <a:pt x="678" y="979"/>
                    <a:pt x="734" y="1008"/>
                    <a:pt x="743" y="971"/>
                  </a:cubicBezTo>
                  <a:cubicBezTo>
                    <a:pt x="752" y="934"/>
                    <a:pt x="787" y="971"/>
                    <a:pt x="822" y="942"/>
                  </a:cubicBezTo>
                  <a:cubicBezTo>
                    <a:pt x="857" y="912"/>
                    <a:pt x="878" y="938"/>
                    <a:pt x="883" y="897"/>
                  </a:cubicBezTo>
                  <a:cubicBezTo>
                    <a:pt x="887" y="856"/>
                    <a:pt x="922" y="853"/>
                    <a:pt x="935" y="864"/>
                  </a:cubicBezTo>
                  <a:cubicBezTo>
                    <a:pt x="948" y="875"/>
                    <a:pt x="992" y="849"/>
                    <a:pt x="1014" y="827"/>
                  </a:cubicBezTo>
                  <a:cubicBezTo>
                    <a:pt x="1036" y="804"/>
                    <a:pt x="1079" y="804"/>
                    <a:pt x="1040" y="764"/>
                  </a:cubicBezTo>
                  <a:cubicBezTo>
                    <a:pt x="1001" y="723"/>
                    <a:pt x="996" y="730"/>
                    <a:pt x="979" y="693"/>
                  </a:cubicBezTo>
                  <a:cubicBezTo>
                    <a:pt x="961" y="656"/>
                    <a:pt x="940" y="615"/>
                    <a:pt x="996" y="641"/>
                  </a:cubicBezTo>
                  <a:cubicBezTo>
                    <a:pt x="1053" y="667"/>
                    <a:pt x="1075" y="701"/>
                    <a:pt x="1088" y="730"/>
                  </a:cubicBezTo>
                  <a:cubicBezTo>
                    <a:pt x="1101" y="760"/>
                    <a:pt x="1175" y="790"/>
                    <a:pt x="1206" y="764"/>
                  </a:cubicBezTo>
                  <a:cubicBezTo>
                    <a:pt x="1237" y="738"/>
                    <a:pt x="1197" y="749"/>
                    <a:pt x="1237" y="738"/>
                  </a:cubicBezTo>
                  <a:cubicBezTo>
                    <a:pt x="1276" y="727"/>
                    <a:pt x="1285" y="716"/>
                    <a:pt x="1289" y="686"/>
                  </a:cubicBezTo>
                  <a:cubicBezTo>
                    <a:pt x="1293" y="656"/>
                    <a:pt x="1298" y="667"/>
                    <a:pt x="1328" y="686"/>
                  </a:cubicBezTo>
                  <a:cubicBezTo>
                    <a:pt x="1359" y="704"/>
                    <a:pt x="1363" y="686"/>
                    <a:pt x="1385" y="664"/>
                  </a:cubicBezTo>
                  <a:cubicBezTo>
                    <a:pt x="1407" y="641"/>
                    <a:pt x="1468" y="615"/>
                    <a:pt x="1473" y="634"/>
                  </a:cubicBezTo>
                  <a:cubicBezTo>
                    <a:pt x="1477" y="653"/>
                    <a:pt x="1560" y="660"/>
                    <a:pt x="1538" y="641"/>
                  </a:cubicBezTo>
                  <a:cubicBezTo>
                    <a:pt x="1516" y="623"/>
                    <a:pt x="1507" y="582"/>
                    <a:pt x="1538" y="597"/>
                  </a:cubicBezTo>
                  <a:cubicBezTo>
                    <a:pt x="1569" y="612"/>
                    <a:pt x="1586" y="638"/>
                    <a:pt x="1647" y="604"/>
                  </a:cubicBezTo>
                  <a:cubicBezTo>
                    <a:pt x="1708" y="571"/>
                    <a:pt x="1735" y="556"/>
                    <a:pt x="1748" y="556"/>
                  </a:cubicBezTo>
                  <a:cubicBezTo>
                    <a:pt x="1761" y="556"/>
                    <a:pt x="1778" y="526"/>
                    <a:pt x="1778" y="504"/>
                  </a:cubicBezTo>
                  <a:cubicBezTo>
                    <a:pt x="1778" y="482"/>
                    <a:pt x="1826" y="460"/>
                    <a:pt x="1835" y="423"/>
                  </a:cubicBezTo>
                  <a:cubicBezTo>
                    <a:pt x="1841" y="398"/>
                    <a:pt x="1861" y="375"/>
                    <a:pt x="1889" y="354"/>
                  </a:cubicBezTo>
                  <a:cubicBezTo>
                    <a:pt x="1864" y="331"/>
                    <a:pt x="1837" y="298"/>
                    <a:pt x="1839" y="267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" name="Freeform 14"/>
            <p:cNvSpPr>
              <a:spLocks/>
            </p:cNvSpPr>
            <p:nvPr/>
          </p:nvSpPr>
          <p:spPr bwMode="auto">
            <a:xfrm>
              <a:off x="3625" y="2903"/>
              <a:ext cx="665" cy="641"/>
            </a:xfrm>
            <a:custGeom>
              <a:avLst/>
              <a:gdLst>
                <a:gd name="T0" fmla="*/ 1367 w 1437"/>
                <a:gd name="T1" fmla="*/ 819 h 1384"/>
                <a:gd name="T2" fmla="*/ 1289 w 1437"/>
                <a:gd name="T3" fmla="*/ 678 h 1384"/>
                <a:gd name="T4" fmla="*/ 1236 w 1437"/>
                <a:gd name="T5" fmla="*/ 492 h 1384"/>
                <a:gd name="T6" fmla="*/ 1306 w 1437"/>
                <a:gd name="T7" fmla="*/ 277 h 1384"/>
                <a:gd name="T8" fmla="*/ 1175 w 1437"/>
                <a:gd name="T9" fmla="*/ 148 h 1384"/>
                <a:gd name="T10" fmla="*/ 1092 w 1437"/>
                <a:gd name="T11" fmla="*/ 48 h 1384"/>
                <a:gd name="T12" fmla="*/ 992 w 1437"/>
                <a:gd name="T13" fmla="*/ 59 h 1384"/>
                <a:gd name="T14" fmla="*/ 900 w 1437"/>
                <a:gd name="T15" fmla="*/ 77 h 1384"/>
                <a:gd name="T16" fmla="*/ 708 w 1437"/>
                <a:gd name="T17" fmla="*/ 29 h 1384"/>
                <a:gd name="T18" fmla="*/ 472 w 1437"/>
                <a:gd name="T19" fmla="*/ 0 h 1384"/>
                <a:gd name="T20" fmla="*/ 398 w 1437"/>
                <a:gd name="T21" fmla="*/ 133 h 1384"/>
                <a:gd name="T22" fmla="*/ 236 w 1437"/>
                <a:gd name="T23" fmla="*/ 100 h 1384"/>
                <a:gd name="T24" fmla="*/ 96 w 1437"/>
                <a:gd name="T25" fmla="*/ 281 h 1384"/>
                <a:gd name="T26" fmla="*/ 118 w 1437"/>
                <a:gd name="T27" fmla="*/ 470 h 1384"/>
                <a:gd name="T28" fmla="*/ 153 w 1437"/>
                <a:gd name="T29" fmla="*/ 615 h 1384"/>
                <a:gd name="T30" fmla="*/ 57 w 1437"/>
                <a:gd name="T31" fmla="*/ 756 h 1384"/>
                <a:gd name="T32" fmla="*/ 109 w 1437"/>
                <a:gd name="T33" fmla="*/ 782 h 1384"/>
                <a:gd name="T34" fmla="*/ 188 w 1437"/>
                <a:gd name="T35" fmla="*/ 863 h 1384"/>
                <a:gd name="T36" fmla="*/ 184 w 1437"/>
                <a:gd name="T37" fmla="*/ 941 h 1384"/>
                <a:gd name="T38" fmla="*/ 214 w 1437"/>
                <a:gd name="T39" fmla="*/ 1042 h 1384"/>
                <a:gd name="T40" fmla="*/ 318 w 1437"/>
                <a:gd name="T41" fmla="*/ 1042 h 1384"/>
                <a:gd name="T42" fmla="*/ 442 w 1437"/>
                <a:gd name="T43" fmla="*/ 1036 h 1384"/>
                <a:gd name="T44" fmla="*/ 531 w 1437"/>
                <a:gd name="T45" fmla="*/ 959 h 1384"/>
                <a:gd name="T46" fmla="*/ 629 w 1437"/>
                <a:gd name="T47" fmla="*/ 934 h 1384"/>
                <a:gd name="T48" fmla="*/ 668 w 1437"/>
                <a:gd name="T49" fmla="*/ 1039 h 1384"/>
                <a:gd name="T50" fmla="*/ 672 w 1437"/>
                <a:gd name="T51" fmla="*/ 1189 h 1384"/>
                <a:gd name="T52" fmla="*/ 747 w 1437"/>
                <a:gd name="T53" fmla="*/ 1267 h 1384"/>
                <a:gd name="T54" fmla="*/ 849 w 1437"/>
                <a:gd name="T55" fmla="*/ 1320 h 1384"/>
                <a:gd name="T56" fmla="*/ 924 w 1437"/>
                <a:gd name="T57" fmla="*/ 1312 h 1384"/>
                <a:gd name="T58" fmla="*/ 946 w 1437"/>
                <a:gd name="T59" fmla="*/ 1221 h 1384"/>
                <a:gd name="T60" fmla="*/ 1136 w 1437"/>
                <a:gd name="T61" fmla="*/ 1221 h 1384"/>
                <a:gd name="T62" fmla="*/ 1190 w 1437"/>
                <a:gd name="T63" fmla="*/ 1097 h 1384"/>
                <a:gd name="T64" fmla="*/ 1300 w 1437"/>
                <a:gd name="T65" fmla="*/ 1134 h 1384"/>
                <a:gd name="T66" fmla="*/ 1363 w 1437"/>
                <a:gd name="T67" fmla="*/ 1030 h 1384"/>
                <a:gd name="T68" fmla="*/ 1411 w 1437"/>
                <a:gd name="T69" fmla="*/ 885 h 1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7" h="1384">
                  <a:moveTo>
                    <a:pt x="1411" y="885"/>
                  </a:moveTo>
                  <a:cubicBezTo>
                    <a:pt x="1385" y="863"/>
                    <a:pt x="1389" y="841"/>
                    <a:pt x="1367" y="819"/>
                  </a:cubicBezTo>
                  <a:cubicBezTo>
                    <a:pt x="1346" y="796"/>
                    <a:pt x="1302" y="793"/>
                    <a:pt x="1302" y="756"/>
                  </a:cubicBezTo>
                  <a:cubicBezTo>
                    <a:pt x="1302" y="719"/>
                    <a:pt x="1289" y="711"/>
                    <a:pt x="1289" y="678"/>
                  </a:cubicBezTo>
                  <a:cubicBezTo>
                    <a:pt x="1289" y="644"/>
                    <a:pt x="1271" y="656"/>
                    <a:pt x="1241" y="615"/>
                  </a:cubicBezTo>
                  <a:cubicBezTo>
                    <a:pt x="1210" y="574"/>
                    <a:pt x="1193" y="530"/>
                    <a:pt x="1236" y="492"/>
                  </a:cubicBezTo>
                  <a:cubicBezTo>
                    <a:pt x="1280" y="455"/>
                    <a:pt x="1332" y="429"/>
                    <a:pt x="1337" y="381"/>
                  </a:cubicBezTo>
                  <a:cubicBezTo>
                    <a:pt x="1341" y="333"/>
                    <a:pt x="1298" y="296"/>
                    <a:pt x="1306" y="277"/>
                  </a:cubicBezTo>
                  <a:cubicBezTo>
                    <a:pt x="1315" y="259"/>
                    <a:pt x="1302" y="229"/>
                    <a:pt x="1276" y="207"/>
                  </a:cubicBezTo>
                  <a:cubicBezTo>
                    <a:pt x="1249" y="185"/>
                    <a:pt x="1175" y="203"/>
                    <a:pt x="1175" y="148"/>
                  </a:cubicBezTo>
                  <a:cubicBezTo>
                    <a:pt x="1175" y="92"/>
                    <a:pt x="1206" y="66"/>
                    <a:pt x="1166" y="44"/>
                  </a:cubicBezTo>
                  <a:cubicBezTo>
                    <a:pt x="1127" y="22"/>
                    <a:pt x="1123" y="14"/>
                    <a:pt x="1092" y="48"/>
                  </a:cubicBezTo>
                  <a:cubicBezTo>
                    <a:pt x="1062" y="81"/>
                    <a:pt x="1075" y="133"/>
                    <a:pt x="1031" y="111"/>
                  </a:cubicBezTo>
                  <a:cubicBezTo>
                    <a:pt x="987" y="88"/>
                    <a:pt x="974" y="70"/>
                    <a:pt x="992" y="59"/>
                  </a:cubicBezTo>
                  <a:cubicBezTo>
                    <a:pt x="1009" y="48"/>
                    <a:pt x="1000" y="14"/>
                    <a:pt x="970" y="25"/>
                  </a:cubicBezTo>
                  <a:cubicBezTo>
                    <a:pt x="939" y="37"/>
                    <a:pt x="948" y="59"/>
                    <a:pt x="900" y="77"/>
                  </a:cubicBezTo>
                  <a:cubicBezTo>
                    <a:pt x="852" y="96"/>
                    <a:pt x="821" y="111"/>
                    <a:pt x="791" y="81"/>
                  </a:cubicBezTo>
                  <a:cubicBezTo>
                    <a:pt x="760" y="51"/>
                    <a:pt x="778" y="18"/>
                    <a:pt x="708" y="29"/>
                  </a:cubicBezTo>
                  <a:cubicBezTo>
                    <a:pt x="638" y="40"/>
                    <a:pt x="603" y="37"/>
                    <a:pt x="577" y="22"/>
                  </a:cubicBezTo>
                  <a:cubicBezTo>
                    <a:pt x="551" y="7"/>
                    <a:pt x="511" y="0"/>
                    <a:pt x="472" y="0"/>
                  </a:cubicBezTo>
                  <a:cubicBezTo>
                    <a:pt x="433" y="0"/>
                    <a:pt x="350" y="11"/>
                    <a:pt x="380" y="40"/>
                  </a:cubicBezTo>
                  <a:cubicBezTo>
                    <a:pt x="411" y="70"/>
                    <a:pt x="446" y="137"/>
                    <a:pt x="398" y="133"/>
                  </a:cubicBezTo>
                  <a:cubicBezTo>
                    <a:pt x="350" y="129"/>
                    <a:pt x="337" y="107"/>
                    <a:pt x="315" y="126"/>
                  </a:cubicBezTo>
                  <a:cubicBezTo>
                    <a:pt x="293" y="144"/>
                    <a:pt x="275" y="81"/>
                    <a:pt x="236" y="100"/>
                  </a:cubicBezTo>
                  <a:cubicBezTo>
                    <a:pt x="197" y="118"/>
                    <a:pt x="144" y="137"/>
                    <a:pt x="127" y="174"/>
                  </a:cubicBezTo>
                  <a:cubicBezTo>
                    <a:pt x="109" y="211"/>
                    <a:pt x="96" y="229"/>
                    <a:pt x="96" y="281"/>
                  </a:cubicBezTo>
                  <a:cubicBezTo>
                    <a:pt x="96" y="333"/>
                    <a:pt x="105" y="385"/>
                    <a:pt x="122" y="411"/>
                  </a:cubicBezTo>
                  <a:cubicBezTo>
                    <a:pt x="140" y="437"/>
                    <a:pt x="92" y="441"/>
                    <a:pt x="118" y="470"/>
                  </a:cubicBezTo>
                  <a:cubicBezTo>
                    <a:pt x="144" y="500"/>
                    <a:pt x="153" y="496"/>
                    <a:pt x="140" y="533"/>
                  </a:cubicBezTo>
                  <a:cubicBezTo>
                    <a:pt x="127" y="570"/>
                    <a:pt x="131" y="581"/>
                    <a:pt x="153" y="615"/>
                  </a:cubicBezTo>
                  <a:cubicBezTo>
                    <a:pt x="175" y="648"/>
                    <a:pt x="201" y="681"/>
                    <a:pt x="166" y="689"/>
                  </a:cubicBezTo>
                  <a:cubicBezTo>
                    <a:pt x="131" y="696"/>
                    <a:pt x="79" y="730"/>
                    <a:pt x="57" y="756"/>
                  </a:cubicBezTo>
                  <a:cubicBezTo>
                    <a:pt x="35" y="782"/>
                    <a:pt x="0" y="789"/>
                    <a:pt x="39" y="804"/>
                  </a:cubicBezTo>
                  <a:cubicBezTo>
                    <a:pt x="79" y="819"/>
                    <a:pt x="66" y="774"/>
                    <a:pt x="109" y="782"/>
                  </a:cubicBezTo>
                  <a:cubicBezTo>
                    <a:pt x="153" y="789"/>
                    <a:pt x="197" y="752"/>
                    <a:pt x="201" y="796"/>
                  </a:cubicBezTo>
                  <a:cubicBezTo>
                    <a:pt x="205" y="841"/>
                    <a:pt x="210" y="852"/>
                    <a:pt x="188" y="863"/>
                  </a:cubicBezTo>
                  <a:cubicBezTo>
                    <a:pt x="166" y="874"/>
                    <a:pt x="184" y="889"/>
                    <a:pt x="197" y="908"/>
                  </a:cubicBezTo>
                  <a:cubicBezTo>
                    <a:pt x="210" y="926"/>
                    <a:pt x="201" y="919"/>
                    <a:pt x="184" y="941"/>
                  </a:cubicBezTo>
                  <a:cubicBezTo>
                    <a:pt x="166" y="963"/>
                    <a:pt x="192" y="1004"/>
                    <a:pt x="201" y="1015"/>
                  </a:cubicBezTo>
                  <a:cubicBezTo>
                    <a:pt x="205" y="1020"/>
                    <a:pt x="211" y="1030"/>
                    <a:pt x="214" y="1042"/>
                  </a:cubicBezTo>
                  <a:cubicBezTo>
                    <a:pt x="238" y="1043"/>
                    <a:pt x="262" y="1046"/>
                    <a:pt x="269" y="1059"/>
                  </a:cubicBezTo>
                  <a:cubicBezTo>
                    <a:pt x="282" y="1084"/>
                    <a:pt x="315" y="1070"/>
                    <a:pt x="318" y="1042"/>
                  </a:cubicBezTo>
                  <a:cubicBezTo>
                    <a:pt x="321" y="1014"/>
                    <a:pt x="347" y="945"/>
                    <a:pt x="377" y="992"/>
                  </a:cubicBezTo>
                  <a:cubicBezTo>
                    <a:pt x="406" y="1039"/>
                    <a:pt x="357" y="1050"/>
                    <a:pt x="442" y="1036"/>
                  </a:cubicBezTo>
                  <a:cubicBezTo>
                    <a:pt x="478" y="997"/>
                    <a:pt x="482" y="1011"/>
                    <a:pt x="488" y="984"/>
                  </a:cubicBezTo>
                  <a:cubicBezTo>
                    <a:pt x="495" y="956"/>
                    <a:pt x="505" y="953"/>
                    <a:pt x="531" y="959"/>
                  </a:cubicBezTo>
                  <a:cubicBezTo>
                    <a:pt x="557" y="964"/>
                    <a:pt x="567" y="967"/>
                    <a:pt x="580" y="956"/>
                  </a:cubicBezTo>
                  <a:cubicBezTo>
                    <a:pt x="593" y="945"/>
                    <a:pt x="596" y="922"/>
                    <a:pt x="629" y="934"/>
                  </a:cubicBezTo>
                  <a:cubicBezTo>
                    <a:pt x="662" y="945"/>
                    <a:pt x="688" y="942"/>
                    <a:pt x="672" y="972"/>
                  </a:cubicBezTo>
                  <a:cubicBezTo>
                    <a:pt x="655" y="1003"/>
                    <a:pt x="636" y="1039"/>
                    <a:pt x="668" y="1039"/>
                  </a:cubicBezTo>
                  <a:cubicBezTo>
                    <a:pt x="701" y="1039"/>
                    <a:pt x="714" y="1034"/>
                    <a:pt x="711" y="1067"/>
                  </a:cubicBezTo>
                  <a:cubicBezTo>
                    <a:pt x="708" y="1100"/>
                    <a:pt x="731" y="1145"/>
                    <a:pt x="672" y="1189"/>
                  </a:cubicBezTo>
                  <a:cubicBezTo>
                    <a:pt x="613" y="1234"/>
                    <a:pt x="613" y="1253"/>
                    <a:pt x="659" y="1253"/>
                  </a:cubicBezTo>
                  <a:cubicBezTo>
                    <a:pt x="705" y="1253"/>
                    <a:pt x="737" y="1237"/>
                    <a:pt x="747" y="1267"/>
                  </a:cubicBezTo>
                  <a:cubicBezTo>
                    <a:pt x="757" y="1298"/>
                    <a:pt x="754" y="1384"/>
                    <a:pt x="793" y="1353"/>
                  </a:cubicBezTo>
                  <a:cubicBezTo>
                    <a:pt x="832" y="1323"/>
                    <a:pt x="822" y="1314"/>
                    <a:pt x="849" y="1320"/>
                  </a:cubicBezTo>
                  <a:cubicBezTo>
                    <a:pt x="868" y="1324"/>
                    <a:pt x="866" y="1313"/>
                    <a:pt x="892" y="1322"/>
                  </a:cubicBezTo>
                  <a:cubicBezTo>
                    <a:pt x="893" y="1316"/>
                    <a:pt x="900" y="1313"/>
                    <a:pt x="924" y="1312"/>
                  </a:cubicBezTo>
                  <a:cubicBezTo>
                    <a:pt x="944" y="1310"/>
                    <a:pt x="952" y="1312"/>
                    <a:pt x="941" y="1282"/>
                  </a:cubicBezTo>
                  <a:cubicBezTo>
                    <a:pt x="931" y="1252"/>
                    <a:pt x="911" y="1234"/>
                    <a:pt x="946" y="1221"/>
                  </a:cubicBezTo>
                  <a:cubicBezTo>
                    <a:pt x="981" y="1208"/>
                    <a:pt x="1003" y="1189"/>
                    <a:pt x="1057" y="1215"/>
                  </a:cubicBezTo>
                  <a:cubicBezTo>
                    <a:pt x="1112" y="1241"/>
                    <a:pt x="1121" y="1273"/>
                    <a:pt x="1136" y="1221"/>
                  </a:cubicBezTo>
                  <a:cubicBezTo>
                    <a:pt x="1151" y="1169"/>
                    <a:pt x="1097" y="1160"/>
                    <a:pt x="1129" y="1145"/>
                  </a:cubicBezTo>
                  <a:cubicBezTo>
                    <a:pt x="1162" y="1130"/>
                    <a:pt x="1171" y="1098"/>
                    <a:pt x="1190" y="1097"/>
                  </a:cubicBezTo>
                  <a:cubicBezTo>
                    <a:pt x="1210" y="1095"/>
                    <a:pt x="1206" y="1104"/>
                    <a:pt x="1232" y="1117"/>
                  </a:cubicBezTo>
                  <a:cubicBezTo>
                    <a:pt x="1258" y="1130"/>
                    <a:pt x="1263" y="1147"/>
                    <a:pt x="1300" y="1134"/>
                  </a:cubicBezTo>
                  <a:cubicBezTo>
                    <a:pt x="1329" y="1123"/>
                    <a:pt x="1354" y="1113"/>
                    <a:pt x="1383" y="1092"/>
                  </a:cubicBezTo>
                  <a:cubicBezTo>
                    <a:pt x="1371" y="1075"/>
                    <a:pt x="1360" y="1055"/>
                    <a:pt x="1363" y="1030"/>
                  </a:cubicBezTo>
                  <a:cubicBezTo>
                    <a:pt x="1367" y="989"/>
                    <a:pt x="1337" y="971"/>
                    <a:pt x="1385" y="937"/>
                  </a:cubicBezTo>
                  <a:cubicBezTo>
                    <a:pt x="1433" y="904"/>
                    <a:pt x="1437" y="908"/>
                    <a:pt x="1411" y="885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" name="Freeform 15"/>
            <p:cNvSpPr>
              <a:spLocks/>
            </p:cNvSpPr>
            <p:nvPr/>
          </p:nvSpPr>
          <p:spPr bwMode="auto">
            <a:xfrm>
              <a:off x="2302" y="3034"/>
              <a:ext cx="1049" cy="967"/>
            </a:xfrm>
            <a:custGeom>
              <a:avLst/>
              <a:gdLst>
                <a:gd name="T0" fmla="*/ 2228 w 2266"/>
                <a:gd name="T1" fmla="*/ 1313 h 2088"/>
                <a:gd name="T2" fmla="*/ 2073 w 2266"/>
                <a:gd name="T3" fmla="*/ 1311 h 2088"/>
                <a:gd name="T4" fmla="*/ 1891 w 2266"/>
                <a:gd name="T5" fmla="*/ 1218 h 2088"/>
                <a:gd name="T6" fmla="*/ 1828 w 2266"/>
                <a:gd name="T7" fmla="*/ 1154 h 2088"/>
                <a:gd name="T8" fmla="*/ 1774 w 2266"/>
                <a:gd name="T9" fmla="*/ 939 h 2088"/>
                <a:gd name="T10" fmla="*/ 1831 w 2266"/>
                <a:gd name="T11" fmla="*/ 709 h 2088"/>
                <a:gd name="T12" fmla="*/ 1686 w 2266"/>
                <a:gd name="T13" fmla="*/ 690 h 2088"/>
                <a:gd name="T14" fmla="*/ 1608 w 2266"/>
                <a:gd name="T15" fmla="*/ 579 h 2088"/>
                <a:gd name="T16" fmla="*/ 1717 w 2266"/>
                <a:gd name="T17" fmla="*/ 509 h 2088"/>
                <a:gd name="T18" fmla="*/ 1957 w 2266"/>
                <a:gd name="T19" fmla="*/ 475 h 2088"/>
                <a:gd name="T20" fmla="*/ 1909 w 2266"/>
                <a:gd name="T21" fmla="*/ 312 h 2088"/>
                <a:gd name="T22" fmla="*/ 1743 w 2266"/>
                <a:gd name="T23" fmla="*/ 249 h 2088"/>
                <a:gd name="T24" fmla="*/ 1617 w 2266"/>
                <a:gd name="T25" fmla="*/ 205 h 2088"/>
                <a:gd name="T26" fmla="*/ 1516 w 2266"/>
                <a:gd name="T27" fmla="*/ 405 h 2088"/>
                <a:gd name="T28" fmla="*/ 1411 w 2266"/>
                <a:gd name="T29" fmla="*/ 635 h 2088"/>
                <a:gd name="T30" fmla="*/ 1280 w 2266"/>
                <a:gd name="T31" fmla="*/ 757 h 2088"/>
                <a:gd name="T32" fmla="*/ 1036 w 2266"/>
                <a:gd name="T33" fmla="*/ 709 h 2088"/>
                <a:gd name="T34" fmla="*/ 848 w 2266"/>
                <a:gd name="T35" fmla="*/ 397 h 2088"/>
                <a:gd name="T36" fmla="*/ 673 w 2266"/>
                <a:gd name="T37" fmla="*/ 190 h 2088"/>
                <a:gd name="T38" fmla="*/ 472 w 2266"/>
                <a:gd name="T39" fmla="*/ 223 h 2088"/>
                <a:gd name="T40" fmla="*/ 442 w 2266"/>
                <a:gd name="T41" fmla="*/ 5 h 2088"/>
                <a:gd name="T42" fmla="*/ 328 w 2266"/>
                <a:gd name="T43" fmla="*/ 112 h 2088"/>
                <a:gd name="T44" fmla="*/ 228 w 2266"/>
                <a:gd name="T45" fmla="*/ 264 h 2088"/>
                <a:gd name="T46" fmla="*/ 241 w 2266"/>
                <a:gd name="T47" fmla="*/ 409 h 2088"/>
                <a:gd name="T48" fmla="*/ 354 w 2266"/>
                <a:gd name="T49" fmla="*/ 546 h 2088"/>
                <a:gd name="T50" fmla="*/ 337 w 2266"/>
                <a:gd name="T51" fmla="*/ 861 h 2088"/>
                <a:gd name="T52" fmla="*/ 158 w 2266"/>
                <a:gd name="T53" fmla="*/ 1005 h 2088"/>
                <a:gd name="T54" fmla="*/ 31 w 2266"/>
                <a:gd name="T55" fmla="*/ 1213 h 2088"/>
                <a:gd name="T56" fmla="*/ 136 w 2266"/>
                <a:gd name="T57" fmla="*/ 1302 h 2088"/>
                <a:gd name="T58" fmla="*/ 332 w 2266"/>
                <a:gd name="T59" fmla="*/ 1343 h 2088"/>
                <a:gd name="T60" fmla="*/ 376 w 2266"/>
                <a:gd name="T61" fmla="*/ 1535 h 2088"/>
                <a:gd name="T62" fmla="*/ 503 w 2266"/>
                <a:gd name="T63" fmla="*/ 1635 h 2088"/>
                <a:gd name="T64" fmla="*/ 533 w 2266"/>
                <a:gd name="T65" fmla="*/ 1821 h 2088"/>
                <a:gd name="T66" fmla="*/ 660 w 2266"/>
                <a:gd name="T67" fmla="*/ 1932 h 2088"/>
                <a:gd name="T68" fmla="*/ 787 w 2266"/>
                <a:gd name="T69" fmla="*/ 1991 h 2088"/>
                <a:gd name="T70" fmla="*/ 988 w 2266"/>
                <a:gd name="T71" fmla="*/ 2047 h 2088"/>
                <a:gd name="T72" fmla="*/ 1114 w 2266"/>
                <a:gd name="T73" fmla="*/ 1995 h 2088"/>
                <a:gd name="T74" fmla="*/ 1075 w 2266"/>
                <a:gd name="T75" fmla="*/ 1743 h 2088"/>
                <a:gd name="T76" fmla="*/ 1206 w 2266"/>
                <a:gd name="T77" fmla="*/ 1750 h 2088"/>
                <a:gd name="T78" fmla="*/ 1433 w 2266"/>
                <a:gd name="T79" fmla="*/ 1728 h 2088"/>
                <a:gd name="T80" fmla="*/ 1603 w 2266"/>
                <a:gd name="T81" fmla="*/ 1650 h 2088"/>
                <a:gd name="T82" fmla="*/ 1783 w 2266"/>
                <a:gd name="T83" fmla="*/ 1658 h 2088"/>
                <a:gd name="T84" fmla="*/ 1918 w 2266"/>
                <a:gd name="T85" fmla="*/ 1558 h 2088"/>
                <a:gd name="T86" fmla="*/ 2093 w 2266"/>
                <a:gd name="T87" fmla="*/ 1528 h 2088"/>
                <a:gd name="T88" fmla="*/ 2240 w 2266"/>
                <a:gd name="T89" fmla="*/ 1453 h 2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66" h="2088">
                  <a:moveTo>
                    <a:pt x="2240" y="1453"/>
                  </a:moveTo>
                  <a:cubicBezTo>
                    <a:pt x="2266" y="1442"/>
                    <a:pt x="2264" y="1420"/>
                    <a:pt x="2263" y="1388"/>
                  </a:cubicBezTo>
                  <a:cubicBezTo>
                    <a:pt x="2261" y="1356"/>
                    <a:pt x="2251" y="1342"/>
                    <a:pt x="2228" y="1313"/>
                  </a:cubicBezTo>
                  <a:cubicBezTo>
                    <a:pt x="2205" y="1283"/>
                    <a:pt x="2192" y="1315"/>
                    <a:pt x="2164" y="1321"/>
                  </a:cubicBezTo>
                  <a:cubicBezTo>
                    <a:pt x="2136" y="1326"/>
                    <a:pt x="2131" y="1314"/>
                    <a:pt x="2115" y="1296"/>
                  </a:cubicBezTo>
                  <a:cubicBezTo>
                    <a:pt x="2099" y="1278"/>
                    <a:pt x="2097" y="1287"/>
                    <a:pt x="2073" y="1311"/>
                  </a:cubicBezTo>
                  <a:cubicBezTo>
                    <a:pt x="2048" y="1335"/>
                    <a:pt x="2004" y="1296"/>
                    <a:pt x="1996" y="1283"/>
                  </a:cubicBezTo>
                  <a:cubicBezTo>
                    <a:pt x="1987" y="1271"/>
                    <a:pt x="1982" y="1261"/>
                    <a:pt x="1976" y="1235"/>
                  </a:cubicBezTo>
                  <a:cubicBezTo>
                    <a:pt x="1969" y="1208"/>
                    <a:pt x="1915" y="1219"/>
                    <a:pt x="1891" y="1218"/>
                  </a:cubicBezTo>
                  <a:cubicBezTo>
                    <a:pt x="1866" y="1217"/>
                    <a:pt x="1873" y="1218"/>
                    <a:pt x="1866" y="1239"/>
                  </a:cubicBezTo>
                  <a:cubicBezTo>
                    <a:pt x="1860" y="1260"/>
                    <a:pt x="1838" y="1250"/>
                    <a:pt x="1819" y="1205"/>
                  </a:cubicBezTo>
                  <a:cubicBezTo>
                    <a:pt x="1810" y="1186"/>
                    <a:pt x="1817" y="1168"/>
                    <a:pt x="1828" y="1154"/>
                  </a:cubicBezTo>
                  <a:cubicBezTo>
                    <a:pt x="1813" y="1145"/>
                    <a:pt x="1809" y="1131"/>
                    <a:pt x="1831" y="1113"/>
                  </a:cubicBezTo>
                  <a:cubicBezTo>
                    <a:pt x="1870" y="1079"/>
                    <a:pt x="1883" y="1035"/>
                    <a:pt x="1857" y="1013"/>
                  </a:cubicBezTo>
                  <a:cubicBezTo>
                    <a:pt x="1831" y="991"/>
                    <a:pt x="1774" y="965"/>
                    <a:pt x="1774" y="939"/>
                  </a:cubicBezTo>
                  <a:cubicBezTo>
                    <a:pt x="1774" y="913"/>
                    <a:pt x="1739" y="887"/>
                    <a:pt x="1774" y="842"/>
                  </a:cubicBezTo>
                  <a:cubicBezTo>
                    <a:pt x="1809" y="798"/>
                    <a:pt x="1813" y="798"/>
                    <a:pt x="1831" y="776"/>
                  </a:cubicBezTo>
                  <a:cubicBezTo>
                    <a:pt x="1848" y="753"/>
                    <a:pt x="1848" y="724"/>
                    <a:pt x="1831" y="709"/>
                  </a:cubicBezTo>
                  <a:cubicBezTo>
                    <a:pt x="1813" y="694"/>
                    <a:pt x="1809" y="668"/>
                    <a:pt x="1783" y="664"/>
                  </a:cubicBezTo>
                  <a:cubicBezTo>
                    <a:pt x="1756" y="661"/>
                    <a:pt x="1739" y="698"/>
                    <a:pt x="1726" y="687"/>
                  </a:cubicBezTo>
                  <a:cubicBezTo>
                    <a:pt x="1713" y="675"/>
                    <a:pt x="1686" y="668"/>
                    <a:pt x="1686" y="690"/>
                  </a:cubicBezTo>
                  <a:cubicBezTo>
                    <a:pt x="1686" y="713"/>
                    <a:pt x="1652" y="709"/>
                    <a:pt x="1625" y="690"/>
                  </a:cubicBezTo>
                  <a:cubicBezTo>
                    <a:pt x="1599" y="672"/>
                    <a:pt x="1582" y="627"/>
                    <a:pt x="1603" y="616"/>
                  </a:cubicBezTo>
                  <a:cubicBezTo>
                    <a:pt x="1625" y="605"/>
                    <a:pt x="1634" y="601"/>
                    <a:pt x="1608" y="579"/>
                  </a:cubicBezTo>
                  <a:cubicBezTo>
                    <a:pt x="1582" y="557"/>
                    <a:pt x="1573" y="579"/>
                    <a:pt x="1608" y="535"/>
                  </a:cubicBezTo>
                  <a:cubicBezTo>
                    <a:pt x="1643" y="490"/>
                    <a:pt x="1652" y="446"/>
                    <a:pt x="1669" y="479"/>
                  </a:cubicBezTo>
                  <a:cubicBezTo>
                    <a:pt x="1686" y="512"/>
                    <a:pt x="1686" y="538"/>
                    <a:pt x="1717" y="509"/>
                  </a:cubicBezTo>
                  <a:cubicBezTo>
                    <a:pt x="1748" y="479"/>
                    <a:pt x="1682" y="464"/>
                    <a:pt x="1748" y="479"/>
                  </a:cubicBezTo>
                  <a:cubicBezTo>
                    <a:pt x="1813" y="494"/>
                    <a:pt x="1818" y="498"/>
                    <a:pt x="1866" y="490"/>
                  </a:cubicBezTo>
                  <a:cubicBezTo>
                    <a:pt x="1914" y="483"/>
                    <a:pt x="1931" y="479"/>
                    <a:pt x="1957" y="475"/>
                  </a:cubicBezTo>
                  <a:cubicBezTo>
                    <a:pt x="1984" y="472"/>
                    <a:pt x="1988" y="409"/>
                    <a:pt x="1992" y="379"/>
                  </a:cubicBezTo>
                  <a:cubicBezTo>
                    <a:pt x="1997" y="349"/>
                    <a:pt x="1984" y="320"/>
                    <a:pt x="1966" y="312"/>
                  </a:cubicBezTo>
                  <a:cubicBezTo>
                    <a:pt x="1949" y="305"/>
                    <a:pt x="1922" y="290"/>
                    <a:pt x="1909" y="312"/>
                  </a:cubicBezTo>
                  <a:cubicBezTo>
                    <a:pt x="1896" y="334"/>
                    <a:pt x="1857" y="368"/>
                    <a:pt x="1818" y="360"/>
                  </a:cubicBezTo>
                  <a:cubicBezTo>
                    <a:pt x="1778" y="353"/>
                    <a:pt x="1735" y="334"/>
                    <a:pt x="1756" y="316"/>
                  </a:cubicBezTo>
                  <a:cubicBezTo>
                    <a:pt x="1778" y="297"/>
                    <a:pt x="1765" y="268"/>
                    <a:pt x="1743" y="249"/>
                  </a:cubicBezTo>
                  <a:cubicBezTo>
                    <a:pt x="1721" y="231"/>
                    <a:pt x="1721" y="212"/>
                    <a:pt x="1730" y="201"/>
                  </a:cubicBezTo>
                  <a:cubicBezTo>
                    <a:pt x="1739" y="190"/>
                    <a:pt x="1761" y="160"/>
                    <a:pt x="1717" y="164"/>
                  </a:cubicBezTo>
                  <a:cubicBezTo>
                    <a:pt x="1673" y="168"/>
                    <a:pt x="1577" y="179"/>
                    <a:pt x="1617" y="205"/>
                  </a:cubicBezTo>
                  <a:cubicBezTo>
                    <a:pt x="1656" y="231"/>
                    <a:pt x="1643" y="257"/>
                    <a:pt x="1608" y="264"/>
                  </a:cubicBezTo>
                  <a:cubicBezTo>
                    <a:pt x="1573" y="271"/>
                    <a:pt x="1503" y="290"/>
                    <a:pt x="1525" y="316"/>
                  </a:cubicBezTo>
                  <a:cubicBezTo>
                    <a:pt x="1547" y="342"/>
                    <a:pt x="1542" y="379"/>
                    <a:pt x="1516" y="405"/>
                  </a:cubicBezTo>
                  <a:cubicBezTo>
                    <a:pt x="1490" y="431"/>
                    <a:pt x="1477" y="486"/>
                    <a:pt x="1437" y="490"/>
                  </a:cubicBezTo>
                  <a:cubicBezTo>
                    <a:pt x="1398" y="494"/>
                    <a:pt x="1389" y="516"/>
                    <a:pt x="1394" y="549"/>
                  </a:cubicBezTo>
                  <a:cubicBezTo>
                    <a:pt x="1398" y="583"/>
                    <a:pt x="1385" y="594"/>
                    <a:pt x="1411" y="635"/>
                  </a:cubicBezTo>
                  <a:cubicBezTo>
                    <a:pt x="1437" y="675"/>
                    <a:pt x="1442" y="727"/>
                    <a:pt x="1411" y="753"/>
                  </a:cubicBezTo>
                  <a:cubicBezTo>
                    <a:pt x="1381" y="779"/>
                    <a:pt x="1337" y="787"/>
                    <a:pt x="1333" y="776"/>
                  </a:cubicBezTo>
                  <a:cubicBezTo>
                    <a:pt x="1328" y="764"/>
                    <a:pt x="1315" y="720"/>
                    <a:pt x="1280" y="757"/>
                  </a:cubicBezTo>
                  <a:cubicBezTo>
                    <a:pt x="1245" y="794"/>
                    <a:pt x="1197" y="827"/>
                    <a:pt x="1158" y="824"/>
                  </a:cubicBezTo>
                  <a:cubicBezTo>
                    <a:pt x="1119" y="820"/>
                    <a:pt x="1071" y="790"/>
                    <a:pt x="1066" y="779"/>
                  </a:cubicBezTo>
                  <a:cubicBezTo>
                    <a:pt x="1062" y="768"/>
                    <a:pt x="1075" y="731"/>
                    <a:pt x="1036" y="709"/>
                  </a:cubicBezTo>
                  <a:cubicBezTo>
                    <a:pt x="996" y="687"/>
                    <a:pt x="1040" y="642"/>
                    <a:pt x="996" y="612"/>
                  </a:cubicBezTo>
                  <a:cubicBezTo>
                    <a:pt x="953" y="583"/>
                    <a:pt x="961" y="568"/>
                    <a:pt x="948" y="527"/>
                  </a:cubicBezTo>
                  <a:cubicBezTo>
                    <a:pt x="935" y="486"/>
                    <a:pt x="878" y="427"/>
                    <a:pt x="848" y="397"/>
                  </a:cubicBezTo>
                  <a:cubicBezTo>
                    <a:pt x="817" y="368"/>
                    <a:pt x="730" y="375"/>
                    <a:pt x="704" y="331"/>
                  </a:cubicBezTo>
                  <a:cubicBezTo>
                    <a:pt x="677" y="286"/>
                    <a:pt x="660" y="268"/>
                    <a:pt x="686" y="242"/>
                  </a:cubicBezTo>
                  <a:cubicBezTo>
                    <a:pt x="712" y="216"/>
                    <a:pt x="699" y="201"/>
                    <a:pt x="673" y="190"/>
                  </a:cubicBezTo>
                  <a:cubicBezTo>
                    <a:pt x="647" y="179"/>
                    <a:pt x="616" y="201"/>
                    <a:pt x="608" y="223"/>
                  </a:cubicBezTo>
                  <a:cubicBezTo>
                    <a:pt x="599" y="246"/>
                    <a:pt x="568" y="257"/>
                    <a:pt x="542" y="268"/>
                  </a:cubicBezTo>
                  <a:cubicBezTo>
                    <a:pt x="516" y="279"/>
                    <a:pt x="481" y="297"/>
                    <a:pt x="472" y="223"/>
                  </a:cubicBezTo>
                  <a:cubicBezTo>
                    <a:pt x="463" y="149"/>
                    <a:pt x="468" y="105"/>
                    <a:pt x="468" y="68"/>
                  </a:cubicBezTo>
                  <a:cubicBezTo>
                    <a:pt x="468" y="43"/>
                    <a:pt x="468" y="23"/>
                    <a:pt x="448" y="0"/>
                  </a:cubicBezTo>
                  <a:cubicBezTo>
                    <a:pt x="446" y="2"/>
                    <a:pt x="444" y="3"/>
                    <a:pt x="442" y="5"/>
                  </a:cubicBezTo>
                  <a:cubicBezTo>
                    <a:pt x="411" y="23"/>
                    <a:pt x="385" y="1"/>
                    <a:pt x="385" y="42"/>
                  </a:cubicBezTo>
                  <a:cubicBezTo>
                    <a:pt x="385" y="82"/>
                    <a:pt x="428" y="71"/>
                    <a:pt x="385" y="82"/>
                  </a:cubicBezTo>
                  <a:cubicBezTo>
                    <a:pt x="341" y="94"/>
                    <a:pt x="328" y="71"/>
                    <a:pt x="328" y="112"/>
                  </a:cubicBezTo>
                  <a:cubicBezTo>
                    <a:pt x="328" y="153"/>
                    <a:pt x="341" y="205"/>
                    <a:pt x="337" y="238"/>
                  </a:cubicBezTo>
                  <a:cubicBezTo>
                    <a:pt x="332" y="271"/>
                    <a:pt x="324" y="290"/>
                    <a:pt x="289" y="275"/>
                  </a:cubicBezTo>
                  <a:cubicBezTo>
                    <a:pt x="254" y="260"/>
                    <a:pt x="271" y="216"/>
                    <a:pt x="228" y="264"/>
                  </a:cubicBezTo>
                  <a:cubicBezTo>
                    <a:pt x="220" y="272"/>
                    <a:pt x="214" y="279"/>
                    <a:pt x="209" y="285"/>
                  </a:cubicBezTo>
                  <a:cubicBezTo>
                    <a:pt x="212" y="298"/>
                    <a:pt x="213" y="315"/>
                    <a:pt x="219" y="338"/>
                  </a:cubicBezTo>
                  <a:cubicBezTo>
                    <a:pt x="232" y="394"/>
                    <a:pt x="232" y="383"/>
                    <a:pt x="241" y="409"/>
                  </a:cubicBezTo>
                  <a:cubicBezTo>
                    <a:pt x="249" y="435"/>
                    <a:pt x="254" y="431"/>
                    <a:pt x="293" y="397"/>
                  </a:cubicBezTo>
                  <a:cubicBezTo>
                    <a:pt x="332" y="364"/>
                    <a:pt x="311" y="416"/>
                    <a:pt x="341" y="438"/>
                  </a:cubicBezTo>
                  <a:cubicBezTo>
                    <a:pt x="372" y="461"/>
                    <a:pt x="345" y="498"/>
                    <a:pt x="354" y="546"/>
                  </a:cubicBezTo>
                  <a:cubicBezTo>
                    <a:pt x="363" y="594"/>
                    <a:pt x="367" y="609"/>
                    <a:pt x="363" y="650"/>
                  </a:cubicBezTo>
                  <a:cubicBezTo>
                    <a:pt x="359" y="690"/>
                    <a:pt x="337" y="750"/>
                    <a:pt x="337" y="787"/>
                  </a:cubicBezTo>
                  <a:cubicBezTo>
                    <a:pt x="337" y="824"/>
                    <a:pt x="311" y="824"/>
                    <a:pt x="337" y="861"/>
                  </a:cubicBezTo>
                  <a:cubicBezTo>
                    <a:pt x="363" y="898"/>
                    <a:pt x="271" y="872"/>
                    <a:pt x="267" y="898"/>
                  </a:cubicBezTo>
                  <a:cubicBezTo>
                    <a:pt x="262" y="924"/>
                    <a:pt x="249" y="935"/>
                    <a:pt x="210" y="931"/>
                  </a:cubicBezTo>
                  <a:cubicBezTo>
                    <a:pt x="171" y="928"/>
                    <a:pt x="184" y="987"/>
                    <a:pt x="158" y="1005"/>
                  </a:cubicBezTo>
                  <a:cubicBezTo>
                    <a:pt x="131" y="1024"/>
                    <a:pt x="79" y="1042"/>
                    <a:pt x="79" y="1087"/>
                  </a:cubicBezTo>
                  <a:cubicBezTo>
                    <a:pt x="79" y="1131"/>
                    <a:pt x="53" y="1131"/>
                    <a:pt x="27" y="1146"/>
                  </a:cubicBezTo>
                  <a:cubicBezTo>
                    <a:pt x="0" y="1161"/>
                    <a:pt x="22" y="1191"/>
                    <a:pt x="31" y="1213"/>
                  </a:cubicBezTo>
                  <a:cubicBezTo>
                    <a:pt x="40" y="1235"/>
                    <a:pt x="75" y="1254"/>
                    <a:pt x="70" y="1280"/>
                  </a:cubicBezTo>
                  <a:cubicBezTo>
                    <a:pt x="66" y="1306"/>
                    <a:pt x="22" y="1298"/>
                    <a:pt x="27" y="1343"/>
                  </a:cubicBezTo>
                  <a:cubicBezTo>
                    <a:pt x="31" y="1387"/>
                    <a:pt x="105" y="1328"/>
                    <a:pt x="136" y="1302"/>
                  </a:cubicBezTo>
                  <a:cubicBezTo>
                    <a:pt x="166" y="1276"/>
                    <a:pt x="201" y="1294"/>
                    <a:pt x="236" y="1302"/>
                  </a:cubicBezTo>
                  <a:cubicBezTo>
                    <a:pt x="271" y="1309"/>
                    <a:pt x="311" y="1306"/>
                    <a:pt x="341" y="1287"/>
                  </a:cubicBezTo>
                  <a:cubicBezTo>
                    <a:pt x="372" y="1268"/>
                    <a:pt x="354" y="1320"/>
                    <a:pt x="332" y="1343"/>
                  </a:cubicBezTo>
                  <a:cubicBezTo>
                    <a:pt x="311" y="1365"/>
                    <a:pt x="328" y="1387"/>
                    <a:pt x="350" y="1413"/>
                  </a:cubicBezTo>
                  <a:cubicBezTo>
                    <a:pt x="372" y="1439"/>
                    <a:pt x="341" y="1465"/>
                    <a:pt x="372" y="1480"/>
                  </a:cubicBezTo>
                  <a:cubicBezTo>
                    <a:pt x="402" y="1495"/>
                    <a:pt x="363" y="1517"/>
                    <a:pt x="376" y="1535"/>
                  </a:cubicBezTo>
                  <a:cubicBezTo>
                    <a:pt x="389" y="1554"/>
                    <a:pt x="424" y="1565"/>
                    <a:pt x="442" y="1558"/>
                  </a:cubicBezTo>
                  <a:cubicBezTo>
                    <a:pt x="459" y="1550"/>
                    <a:pt x="490" y="1546"/>
                    <a:pt x="520" y="1572"/>
                  </a:cubicBezTo>
                  <a:cubicBezTo>
                    <a:pt x="551" y="1598"/>
                    <a:pt x="529" y="1613"/>
                    <a:pt x="503" y="1635"/>
                  </a:cubicBezTo>
                  <a:cubicBezTo>
                    <a:pt x="476" y="1658"/>
                    <a:pt x="481" y="1669"/>
                    <a:pt x="485" y="1698"/>
                  </a:cubicBezTo>
                  <a:cubicBezTo>
                    <a:pt x="490" y="1728"/>
                    <a:pt x="442" y="1780"/>
                    <a:pt x="437" y="1806"/>
                  </a:cubicBezTo>
                  <a:cubicBezTo>
                    <a:pt x="433" y="1832"/>
                    <a:pt x="507" y="1806"/>
                    <a:pt x="533" y="1821"/>
                  </a:cubicBezTo>
                  <a:cubicBezTo>
                    <a:pt x="559" y="1836"/>
                    <a:pt x="590" y="1839"/>
                    <a:pt x="621" y="1839"/>
                  </a:cubicBezTo>
                  <a:cubicBezTo>
                    <a:pt x="651" y="1839"/>
                    <a:pt x="647" y="1869"/>
                    <a:pt x="629" y="1895"/>
                  </a:cubicBezTo>
                  <a:cubicBezTo>
                    <a:pt x="612" y="1921"/>
                    <a:pt x="629" y="1928"/>
                    <a:pt x="660" y="1932"/>
                  </a:cubicBezTo>
                  <a:cubicBezTo>
                    <a:pt x="691" y="1936"/>
                    <a:pt x="691" y="1954"/>
                    <a:pt x="691" y="1976"/>
                  </a:cubicBezTo>
                  <a:cubicBezTo>
                    <a:pt x="691" y="1999"/>
                    <a:pt x="717" y="1999"/>
                    <a:pt x="730" y="1973"/>
                  </a:cubicBezTo>
                  <a:cubicBezTo>
                    <a:pt x="743" y="1947"/>
                    <a:pt x="756" y="1969"/>
                    <a:pt x="787" y="1991"/>
                  </a:cubicBezTo>
                  <a:cubicBezTo>
                    <a:pt x="817" y="2013"/>
                    <a:pt x="857" y="1958"/>
                    <a:pt x="896" y="1932"/>
                  </a:cubicBezTo>
                  <a:cubicBezTo>
                    <a:pt x="935" y="1906"/>
                    <a:pt x="957" y="1928"/>
                    <a:pt x="953" y="1939"/>
                  </a:cubicBezTo>
                  <a:cubicBezTo>
                    <a:pt x="948" y="1950"/>
                    <a:pt x="966" y="2006"/>
                    <a:pt x="988" y="2047"/>
                  </a:cubicBezTo>
                  <a:cubicBezTo>
                    <a:pt x="1009" y="2088"/>
                    <a:pt x="1018" y="2065"/>
                    <a:pt x="1044" y="2051"/>
                  </a:cubicBezTo>
                  <a:cubicBezTo>
                    <a:pt x="1071" y="2036"/>
                    <a:pt x="1088" y="2065"/>
                    <a:pt x="1123" y="2062"/>
                  </a:cubicBezTo>
                  <a:cubicBezTo>
                    <a:pt x="1158" y="2058"/>
                    <a:pt x="1132" y="2032"/>
                    <a:pt x="1114" y="1995"/>
                  </a:cubicBezTo>
                  <a:cubicBezTo>
                    <a:pt x="1097" y="1958"/>
                    <a:pt x="1119" y="1965"/>
                    <a:pt x="1123" y="1939"/>
                  </a:cubicBezTo>
                  <a:cubicBezTo>
                    <a:pt x="1127" y="1913"/>
                    <a:pt x="1079" y="1854"/>
                    <a:pt x="1071" y="1832"/>
                  </a:cubicBezTo>
                  <a:cubicBezTo>
                    <a:pt x="1062" y="1810"/>
                    <a:pt x="1053" y="1773"/>
                    <a:pt x="1075" y="1743"/>
                  </a:cubicBezTo>
                  <a:cubicBezTo>
                    <a:pt x="1097" y="1713"/>
                    <a:pt x="1114" y="1717"/>
                    <a:pt x="1123" y="1732"/>
                  </a:cubicBezTo>
                  <a:cubicBezTo>
                    <a:pt x="1132" y="1747"/>
                    <a:pt x="1132" y="1754"/>
                    <a:pt x="1145" y="1743"/>
                  </a:cubicBezTo>
                  <a:cubicBezTo>
                    <a:pt x="1158" y="1732"/>
                    <a:pt x="1167" y="1739"/>
                    <a:pt x="1206" y="1750"/>
                  </a:cubicBezTo>
                  <a:cubicBezTo>
                    <a:pt x="1245" y="1761"/>
                    <a:pt x="1228" y="1739"/>
                    <a:pt x="1267" y="1695"/>
                  </a:cubicBezTo>
                  <a:cubicBezTo>
                    <a:pt x="1306" y="1650"/>
                    <a:pt x="1324" y="1658"/>
                    <a:pt x="1350" y="1669"/>
                  </a:cubicBezTo>
                  <a:cubicBezTo>
                    <a:pt x="1376" y="1680"/>
                    <a:pt x="1403" y="1710"/>
                    <a:pt x="1433" y="1728"/>
                  </a:cubicBezTo>
                  <a:cubicBezTo>
                    <a:pt x="1464" y="1747"/>
                    <a:pt x="1494" y="1706"/>
                    <a:pt x="1512" y="1665"/>
                  </a:cubicBezTo>
                  <a:cubicBezTo>
                    <a:pt x="1529" y="1624"/>
                    <a:pt x="1547" y="1661"/>
                    <a:pt x="1560" y="1680"/>
                  </a:cubicBezTo>
                  <a:cubicBezTo>
                    <a:pt x="1573" y="1698"/>
                    <a:pt x="1595" y="1684"/>
                    <a:pt x="1603" y="1650"/>
                  </a:cubicBezTo>
                  <a:cubicBezTo>
                    <a:pt x="1612" y="1617"/>
                    <a:pt x="1656" y="1687"/>
                    <a:pt x="1686" y="1706"/>
                  </a:cubicBezTo>
                  <a:cubicBezTo>
                    <a:pt x="1717" y="1724"/>
                    <a:pt x="1708" y="1661"/>
                    <a:pt x="1721" y="1643"/>
                  </a:cubicBezTo>
                  <a:cubicBezTo>
                    <a:pt x="1735" y="1624"/>
                    <a:pt x="1769" y="1647"/>
                    <a:pt x="1783" y="1658"/>
                  </a:cubicBezTo>
                  <a:cubicBezTo>
                    <a:pt x="1796" y="1669"/>
                    <a:pt x="1822" y="1661"/>
                    <a:pt x="1839" y="1643"/>
                  </a:cubicBezTo>
                  <a:cubicBezTo>
                    <a:pt x="1857" y="1624"/>
                    <a:pt x="1879" y="1624"/>
                    <a:pt x="1909" y="1609"/>
                  </a:cubicBezTo>
                  <a:cubicBezTo>
                    <a:pt x="1940" y="1595"/>
                    <a:pt x="1918" y="1587"/>
                    <a:pt x="1918" y="1558"/>
                  </a:cubicBezTo>
                  <a:cubicBezTo>
                    <a:pt x="1918" y="1528"/>
                    <a:pt x="1940" y="1528"/>
                    <a:pt x="1975" y="1528"/>
                  </a:cubicBezTo>
                  <a:cubicBezTo>
                    <a:pt x="2010" y="1528"/>
                    <a:pt x="2010" y="1517"/>
                    <a:pt x="2036" y="1491"/>
                  </a:cubicBezTo>
                  <a:cubicBezTo>
                    <a:pt x="2062" y="1465"/>
                    <a:pt x="2067" y="1509"/>
                    <a:pt x="2093" y="1528"/>
                  </a:cubicBezTo>
                  <a:cubicBezTo>
                    <a:pt x="2093" y="1528"/>
                    <a:pt x="2094" y="1529"/>
                    <a:pt x="2094" y="1529"/>
                  </a:cubicBezTo>
                  <a:cubicBezTo>
                    <a:pt x="2116" y="1504"/>
                    <a:pt x="2145" y="1483"/>
                    <a:pt x="2154" y="1463"/>
                  </a:cubicBezTo>
                  <a:cubicBezTo>
                    <a:pt x="2168" y="1435"/>
                    <a:pt x="2213" y="1464"/>
                    <a:pt x="2240" y="1453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" name="Freeform 16"/>
            <p:cNvSpPr>
              <a:spLocks/>
            </p:cNvSpPr>
            <p:nvPr/>
          </p:nvSpPr>
          <p:spPr bwMode="auto">
            <a:xfrm>
              <a:off x="3140" y="3330"/>
              <a:ext cx="916" cy="601"/>
            </a:xfrm>
            <a:custGeom>
              <a:avLst/>
              <a:gdLst>
                <a:gd name="T0" fmla="*/ 1938 w 1978"/>
                <a:gd name="T1" fmla="*/ 430 h 1298"/>
                <a:gd name="T2" fmla="*/ 1896 w 1978"/>
                <a:gd name="T3" fmla="*/ 398 h 1298"/>
                <a:gd name="T4" fmla="*/ 1794 w 1978"/>
                <a:gd name="T5" fmla="*/ 345 h 1298"/>
                <a:gd name="T6" fmla="*/ 1719 w 1978"/>
                <a:gd name="T7" fmla="*/ 267 h 1298"/>
                <a:gd name="T8" fmla="*/ 1715 w 1978"/>
                <a:gd name="T9" fmla="*/ 117 h 1298"/>
                <a:gd name="T10" fmla="*/ 1676 w 1978"/>
                <a:gd name="T11" fmla="*/ 12 h 1298"/>
                <a:gd name="T12" fmla="*/ 1578 w 1978"/>
                <a:gd name="T13" fmla="*/ 37 h 1298"/>
                <a:gd name="T14" fmla="*/ 1489 w 1978"/>
                <a:gd name="T15" fmla="*/ 114 h 1298"/>
                <a:gd name="T16" fmla="*/ 1365 w 1978"/>
                <a:gd name="T17" fmla="*/ 120 h 1298"/>
                <a:gd name="T18" fmla="*/ 1261 w 1978"/>
                <a:gd name="T19" fmla="*/ 120 h 1298"/>
                <a:gd name="T20" fmla="*/ 1200 w 1978"/>
                <a:gd name="T21" fmla="*/ 197 h 1298"/>
                <a:gd name="T22" fmla="*/ 1135 w 1978"/>
                <a:gd name="T23" fmla="*/ 264 h 1298"/>
                <a:gd name="T24" fmla="*/ 1012 w 1978"/>
                <a:gd name="T25" fmla="*/ 290 h 1298"/>
                <a:gd name="T26" fmla="*/ 907 w 1978"/>
                <a:gd name="T27" fmla="*/ 360 h 1298"/>
                <a:gd name="T28" fmla="*/ 798 w 1978"/>
                <a:gd name="T29" fmla="*/ 349 h 1298"/>
                <a:gd name="T30" fmla="*/ 685 w 1978"/>
                <a:gd name="T31" fmla="*/ 301 h 1298"/>
                <a:gd name="T32" fmla="*/ 523 w 1978"/>
                <a:gd name="T33" fmla="*/ 412 h 1298"/>
                <a:gd name="T34" fmla="*/ 379 w 1978"/>
                <a:gd name="T35" fmla="*/ 516 h 1298"/>
                <a:gd name="T36" fmla="*/ 195 w 1978"/>
                <a:gd name="T37" fmla="*/ 445 h 1298"/>
                <a:gd name="T38" fmla="*/ 69 w 1978"/>
                <a:gd name="T39" fmla="*/ 527 h 1298"/>
                <a:gd name="T40" fmla="*/ 9 w 1978"/>
                <a:gd name="T41" fmla="*/ 567 h 1298"/>
                <a:gd name="T42" fmla="*/ 81 w 1978"/>
                <a:gd name="T43" fmla="*/ 580 h 1298"/>
                <a:gd name="T44" fmla="*/ 186 w 1978"/>
                <a:gd name="T45" fmla="*/ 645 h 1298"/>
                <a:gd name="T46" fmla="*/ 305 w 1978"/>
                <a:gd name="T47" fmla="*/ 658 h 1298"/>
                <a:gd name="T48" fmla="*/ 418 w 1978"/>
                <a:gd name="T49" fmla="*/ 675 h 1298"/>
                <a:gd name="T50" fmla="*/ 430 w 1978"/>
                <a:gd name="T51" fmla="*/ 815 h 1298"/>
                <a:gd name="T52" fmla="*/ 284 w 1978"/>
                <a:gd name="T53" fmla="*/ 891 h 1298"/>
                <a:gd name="T54" fmla="*/ 427 w 1978"/>
                <a:gd name="T55" fmla="*/ 931 h 1298"/>
                <a:gd name="T56" fmla="*/ 545 w 1978"/>
                <a:gd name="T57" fmla="*/ 957 h 1298"/>
                <a:gd name="T58" fmla="*/ 593 w 1978"/>
                <a:gd name="T59" fmla="*/ 1038 h 1298"/>
                <a:gd name="T60" fmla="*/ 623 w 1978"/>
                <a:gd name="T61" fmla="*/ 1153 h 1298"/>
                <a:gd name="T62" fmla="*/ 720 w 1978"/>
                <a:gd name="T63" fmla="*/ 1220 h 1298"/>
                <a:gd name="T64" fmla="*/ 929 w 1978"/>
                <a:gd name="T65" fmla="*/ 1253 h 1298"/>
                <a:gd name="T66" fmla="*/ 1065 w 1978"/>
                <a:gd name="T67" fmla="*/ 1264 h 1298"/>
                <a:gd name="T68" fmla="*/ 1161 w 1978"/>
                <a:gd name="T69" fmla="*/ 1220 h 1298"/>
                <a:gd name="T70" fmla="*/ 1296 w 1978"/>
                <a:gd name="T71" fmla="*/ 1294 h 1298"/>
                <a:gd name="T72" fmla="*/ 1423 w 1978"/>
                <a:gd name="T73" fmla="*/ 1249 h 1298"/>
                <a:gd name="T74" fmla="*/ 1447 w 1978"/>
                <a:gd name="T75" fmla="*/ 1231 h 1298"/>
                <a:gd name="T76" fmla="*/ 1501 w 1978"/>
                <a:gd name="T77" fmla="*/ 1164 h 1298"/>
                <a:gd name="T78" fmla="*/ 1608 w 1978"/>
                <a:gd name="T79" fmla="*/ 1079 h 1298"/>
                <a:gd name="T80" fmla="*/ 1685 w 1978"/>
                <a:gd name="T81" fmla="*/ 1020 h 1298"/>
                <a:gd name="T82" fmla="*/ 1801 w 1978"/>
                <a:gd name="T83" fmla="*/ 910 h 1298"/>
                <a:gd name="T84" fmla="*/ 1862 w 1978"/>
                <a:gd name="T85" fmla="*/ 681 h 1298"/>
                <a:gd name="T86" fmla="*/ 1954 w 1978"/>
                <a:gd name="T87" fmla="*/ 523 h 1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78" h="1298">
                  <a:moveTo>
                    <a:pt x="1967" y="480"/>
                  </a:moveTo>
                  <a:cubicBezTo>
                    <a:pt x="1956" y="456"/>
                    <a:pt x="1930" y="460"/>
                    <a:pt x="1938" y="430"/>
                  </a:cubicBezTo>
                  <a:cubicBezTo>
                    <a:pt x="1943" y="415"/>
                    <a:pt x="1938" y="406"/>
                    <a:pt x="1939" y="400"/>
                  </a:cubicBezTo>
                  <a:cubicBezTo>
                    <a:pt x="1913" y="391"/>
                    <a:pt x="1915" y="402"/>
                    <a:pt x="1896" y="398"/>
                  </a:cubicBezTo>
                  <a:cubicBezTo>
                    <a:pt x="1869" y="392"/>
                    <a:pt x="1879" y="401"/>
                    <a:pt x="1840" y="431"/>
                  </a:cubicBezTo>
                  <a:cubicBezTo>
                    <a:pt x="1801" y="462"/>
                    <a:pt x="1804" y="376"/>
                    <a:pt x="1794" y="345"/>
                  </a:cubicBezTo>
                  <a:cubicBezTo>
                    <a:pt x="1784" y="315"/>
                    <a:pt x="1752" y="331"/>
                    <a:pt x="1706" y="331"/>
                  </a:cubicBezTo>
                  <a:cubicBezTo>
                    <a:pt x="1660" y="331"/>
                    <a:pt x="1660" y="312"/>
                    <a:pt x="1719" y="267"/>
                  </a:cubicBezTo>
                  <a:cubicBezTo>
                    <a:pt x="1778" y="223"/>
                    <a:pt x="1755" y="178"/>
                    <a:pt x="1758" y="145"/>
                  </a:cubicBezTo>
                  <a:cubicBezTo>
                    <a:pt x="1761" y="112"/>
                    <a:pt x="1748" y="117"/>
                    <a:pt x="1715" y="117"/>
                  </a:cubicBezTo>
                  <a:cubicBezTo>
                    <a:pt x="1683" y="117"/>
                    <a:pt x="1702" y="81"/>
                    <a:pt x="1719" y="50"/>
                  </a:cubicBezTo>
                  <a:cubicBezTo>
                    <a:pt x="1735" y="20"/>
                    <a:pt x="1709" y="23"/>
                    <a:pt x="1676" y="12"/>
                  </a:cubicBezTo>
                  <a:cubicBezTo>
                    <a:pt x="1643" y="0"/>
                    <a:pt x="1640" y="23"/>
                    <a:pt x="1627" y="34"/>
                  </a:cubicBezTo>
                  <a:cubicBezTo>
                    <a:pt x="1614" y="45"/>
                    <a:pt x="1604" y="42"/>
                    <a:pt x="1578" y="37"/>
                  </a:cubicBezTo>
                  <a:cubicBezTo>
                    <a:pt x="1552" y="31"/>
                    <a:pt x="1542" y="34"/>
                    <a:pt x="1535" y="62"/>
                  </a:cubicBezTo>
                  <a:cubicBezTo>
                    <a:pt x="1529" y="89"/>
                    <a:pt x="1525" y="75"/>
                    <a:pt x="1489" y="114"/>
                  </a:cubicBezTo>
                  <a:cubicBezTo>
                    <a:pt x="1404" y="128"/>
                    <a:pt x="1453" y="117"/>
                    <a:pt x="1424" y="70"/>
                  </a:cubicBezTo>
                  <a:cubicBezTo>
                    <a:pt x="1394" y="23"/>
                    <a:pt x="1368" y="92"/>
                    <a:pt x="1365" y="120"/>
                  </a:cubicBezTo>
                  <a:cubicBezTo>
                    <a:pt x="1362" y="148"/>
                    <a:pt x="1329" y="162"/>
                    <a:pt x="1316" y="137"/>
                  </a:cubicBezTo>
                  <a:cubicBezTo>
                    <a:pt x="1309" y="124"/>
                    <a:pt x="1285" y="121"/>
                    <a:pt x="1261" y="120"/>
                  </a:cubicBezTo>
                  <a:cubicBezTo>
                    <a:pt x="1265" y="134"/>
                    <a:pt x="1264" y="150"/>
                    <a:pt x="1252" y="167"/>
                  </a:cubicBezTo>
                  <a:cubicBezTo>
                    <a:pt x="1231" y="201"/>
                    <a:pt x="1218" y="212"/>
                    <a:pt x="1200" y="197"/>
                  </a:cubicBezTo>
                  <a:cubicBezTo>
                    <a:pt x="1183" y="182"/>
                    <a:pt x="1135" y="178"/>
                    <a:pt x="1135" y="208"/>
                  </a:cubicBezTo>
                  <a:cubicBezTo>
                    <a:pt x="1135" y="238"/>
                    <a:pt x="1178" y="264"/>
                    <a:pt x="1135" y="264"/>
                  </a:cubicBezTo>
                  <a:cubicBezTo>
                    <a:pt x="1091" y="264"/>
                    <a:pt x="1073" y="249"/>
                    <a:pt x="1065" y="275"/>
                  </a:cubicBezTo>
                  <a:cubicBezTo>
                    <a:pt x="1056" y="301"/>
                    <a:pt x="1043" y="308"/>
                    <a:pt x="1012" y="290"/>
                  </a:cubicBezTo>
                  <a:cubicBezTo>
                    <a:pt x="982" y="271"/>
                    <a:pt x="942" y="278"/>
                    <a:pt x="934" y="304"/>
                  </a:cubicBezTo>
                  <a:cubicBezTo>
                    <a:pt x="925" y="330"/>
                    <a:pt x="938" y="353"/>
                    <a:pt x="907" y="360"/>
                  </a:cubicBezTo>
                  <a:cubicBezTo>
                    <a:pt x="877" y="367"/>
                    <a:pt x="877" y="404"/>
                    <a:pt x="851" y="378"/>
                  </a:cubicBezTo>
                  <a:cubicBezTo>
                    <a:pt x="824" y="353"/>
                    <a:pt x="816" y="338"/>
                    <a:pt x="798" y="349"/>
                  </a:cubicBezTo>
                  <a:cubicBezTo>
                    <a:pt x="781" y="360"/>
                    <a:pt x="750" y="360"/>
                    <a:pt x="733" y="327"/>
                  </a:cubicBezTo>
                  <a:cubicBezTo>
                    <a:pt x="715" y="293"/>
                    <a:pt x="724" y="264"/>
                    <a:pt x="685" y="301"/>
                  </a:cubicBezTo>
                  <a:cubicBezTo>
                    <a:pt x="645" y="338"/>
                    <a:pt x="658" y="367"/>
                    <a:pt x="610" y="371"/>
                  </a:cubicBezTo>
                  <a:cubicBezTo>
                    <a:pt x="562" y="375"/>
                    <a:pt x="545" y="390"/>
                    <a:pt x="523" y="412"/>
                  </a:cubicBezTo>
                  <a:cubicBezTo>
                    <a:pt x="501" y="434"/>
                    <a:pt x="436" y="423"/>
                    <a:pt x="436" y="460"/>
                  </a:cubicBezTo>
                  <a:cubicBezTo>
                    <a:pt x="436" y="497"/>
                    <a:pt x="414" y="538"/>
                    <a:pt x="379" y="516"/>
                  </a:cubicBezTo>
                  <a:cubicBezTo>
                    <a:pt x="344" y="493"/>
                    <a:pt x="313" y="479"/>
                    <a:pt x="287" y="482"/>
                  </a:cubicBezTo>
                  <a:cubicBezTo>
                    <a:pt x="261" y="486"/>
                    <a:pt x="230" y="441"/>
                    <a:pt x="195" y="445"/>
                  </a:cubicBezTo>
                  <a:cubicBezTo>
                    <a:pt x="160" y="449"/>
                    <a:pt x="156" y="464"/>
                    <a:pt x="139" y="486"/>
                  </a:cubicBezTo>
                  <a:cubicBezTo>
                    <a:pt x="121" y="508"/>
                    <a:pt x="112" y="527"/>
                    <a:pt x="69" y="527"/>
                  </a:cubicBezTo>
                  <a:cubicBezTo>
                    <a:pt x="49" y="527"/>
                    <a:pt x="30" y="523"/>
                    <a:pt x="18" y="516"/>
                  </a:cubicBezTo>
                  <a:cubicBezTo>
                    <a:pt x="7" y="530"/>
                    <a:pt x="0" y="548"/>
                    <a:pt x="9" y="567"/>
                  </a:cubicBezTo>
                  <a:cubicBezTo>
                    <a:pt x="28" y="612"/>
                    <a:pt x="50" y="622"/>
                    <a:pt x="56" y="601"/>
                  </a:cubicBezTo>
                  <a:cubicBezTo>
                    <a:pt x="63" y="580"/>
                    <a:pt x="56" y="579"/>
                    <a:pt x="81" y="580"/>
                  </a:cubicBezTo>
                  <a:cubicBezTo>
                    <a:pt x="105" y="581"/>
                    <a:pt x="159" y="570"/>
                    <a:pt x="166" y="597"/>
                  </a:cubicBezTo>
                  <a:cubicBezTo>
                    <a:pt x="172" y="623"/>
                    <a:pt x="177" y="633"/>
                    <a:pt x="186" y="645"/>
                  </a:cubicBezTo>
                  <a:cubicBezTo>
                    <a:pt x="194" y="658"/>
                    <a:pt x="238" y="697"/>
                    <a:pt x="263" y="673"/>
                  </a:cubicBezTo>
                  <a:cubicBezTo>
                    <a:pt x="287" y="649"/>
                    <a:pt x="289" y="640"/>
                    <a:pt x="305" y="658"/>
                  </a:cubicBezTo>
                  <a:cubicBezTo>
                    <a:pt x="321" y="676"/>
                    <a:pt x="326" y="688"/>
                    <a:pt x="354" y="683"/>
                  </a:cubicBezTo>
                  <a:cubicBezTo>
                    <a:pt x="382" y="677"/>
                    <a:pt x="395" y="645"/>
                    <a:pt x="418" y="675"/>
                  </a:cubicBezTo>
                  <a:cubicBezTo>
                    <a:pt x="441" y="704"/>
                    <a:pt x="451" y="718"/>
                    <a:pt x="453" y="750"/>
                  </a:cubicBezTo>
                  <a:cubicBezTo>
                    <a:pt x="454" y="782"/>
                    <a:pt x="456" y="804"/>
                    <a:pt x="430" y="815"/>
                  </a:cubicBezTo>
                  <a:cubicBezTo>
                    <a:pt x="403" y="826"/>
                    <a:pt x="358" y="797"/>
                    <a:pt x="344" y="825"/>
                  </a:cubicBezTo>
                  <a:cubicBezTo>
                    <a:pt x="335" y="845"/>
                    <a:pt x="306" y="866"/>
                    <a:pt x="284" y="891"/>
                  </a:cubicBezTo>
                  <a:cubicBezTo>
                    <a:pt x="310" y="908"/>
                    <a:pt x="331" y="902"/>
                    <a:pt x="361" y="938"/>
                  </a:cubicBezTo>
                  <a:cubicBezTo>
                    <a:pt x="392" y="975"/>
                    <a:pt x="405" y="949"/>
                    <a:pt x="427" y="931"/>
                  </a:cubicBezTo>
                  <a:cubicBezTo>
                    <a:pt x="449" y="912"/>
                    <a:pt x="466" y="938"/>
                    <a:pt x="488" y="957"/>
                  </a:cubicBezTo>
                  <a:cubicBezTo>
                    <a:pt x="510" y="975"/>
                    <a:pt x="527" y="975"/>
                    <a:pt x="545" y="957"/>
                  </a:cubicBezTo>
                  <a:cubicBezTo>
                    <a:pt x="562" y="938"/>
                    <a:pt x="593" y="953"/>
                    <a:pt x="619" y="964"/>
                  </a:cubicBezTo>
                  <a:cubicBezTo>
                    <a:pt x="645" y="975"/>
                    <a:pt x="619" y="1016"/>
                    <a:pt x="593" y="1038"/>
                  </a:cubicBezTo>
                  <a:cubicBezTo>
                    <a:pt x="567" y="1060"/>
                    <a:pt x="571" y="1075"/>
                    <a:pt x="588" y="1090"/>
                  </a:cubicBezTo>
                  <a:cubicBezTo>
                    <a:pt x="606" y="1105"/>
                    <a:pt x="610" y="1135"/>
                    <a:pt x="623" y="1153"/>
                  </a:cubicBezTo>
                  <a:cubicBezTo>
                    <a:pt x="637" y="1172"/>
                    <a:pt x="632" y="1190"/>
                    <a:pt x="654" y="1186"/>
                  </a:cubicBezTo>
                  <a:cubicBezTo>
                    <a:pt x="676" y="1183"/>
                    <a:pt x="698" y="1194"/>
                    <a:pt x="720" y="1220"/>
                  </a:cubicBezTo>
                  <a:cubicBezTo>
                    <a:pt x="741" y="1246"/>
                    <a:pt x="811" y="1257"/>
                    <a:pt x="842" y="1275"/>
                  </a:cubicBezTo>
                  <a:cubicBezTo>
                    <a:pt x="872" y="1294"/>
                    <a:pt x="907" y="1246"/>
                    <a:pt x="929" y="1253"/>
                  </a:cubicBezTo>
                  <a:cubicBezTo>
                    <a:pt x="939" y="1256"/>
                    <a:pt x="958" y="1273"/>
                    <a:pt x="976" y="1290"/>
                  </a:cubicBezTo>
                  <a:cubicBezTo>
                    <a:pt x="996" y="1262"/>
                    <a:pt x="1013" y="1264"/>
                    <a:pt x="1065" y="1264"/>
                  </a:cubicBezTo>
                  <a:cubicBezTo>
                    <a:pt x="1126" y="1264"/>
                    <a:pt x="1139" y="1275"/>
                    <a:pt x="1126" y="1238"/>
                  </a:cubicBezTo>
                  <a:cubicBezTo>
                    <a:pt x="1113" y="1201"/>
                    <a:pt x="1121" y="1168"/>
                    <a:pt x="1161" y="1220"/>
                  </a:cubicBezTo>
                  <a:cubicBezTo>
                    <a:pt x="1200" y="1272"/>
                    <a:pt x="1148" y="1249"/>
                    <a:pt x="1213" y="1253"/>
                  </a:cubicBezTo>
                  <a:cubicBezTo>
                    <a:pt x="1279" y="1257"/>
                    <a:pt x="1231" y="1290"/>
                    <a:pt x="1296" y="1294"/>
                  </a:cubicBezTo>
                  <a:cubicBezTo>
                    <a:pt x="1362" y="1298"/>
                    <a:pt x="1392" y="1279"/>
                    <a:pt x="1392" y="1264"/>
                  </a:cubicBezTo>
                  <a:cubicBezTo>
                    <a:pt x="1392" y="1249"/>
                    <a:pt x="1418" y="1216"/>
                    <a:pt x="1423" y="1249"/>
                  </a:cubicBezTo>
                  <a:cubicBezTo>
                    <a:pt x="1423" y="1253"/>
                    <a:pt x="1424" y="1256"/>
                    <a:pt x="1424" y="1259"/>
                  </a:cubicBezTo>
                  <a:cubicBezTo>
                    <a:pt x="1430" y="1247"/>
                    <a:pt x="1437" y="1235"/>
                    <a:pt x="1447" y="1231"/>
                  </a:cubicBezTo>
                  <a:cubicBezTo>
                    <a:pt x="1469" y="1222"/>
                    <a:pt x="1486" y="1214"/>
                    <a:pt x="1486" y="1194"/>
                  </a:cubicBezTo>
                  <a:cubicBezTo>
                    <a:pt x="1486" y="1173"/>
                    <a:pt x="1471" y="1164"/>
                    <a:pt x="1501" y="1164"/>
                  </a:cubicBezTo>
                  <a:cubicBezTo>
                    <a:pt x="1532" y="1164"/>
                    <a:pt x="1591" y="1177"/>
                    <a:pt x="1591" y="1135"/>
                  </a:cubicBezTo>
                  <a:cubicBezTo>
                    <a:pt x="1591" y="1092"/>
                    <a:pt x="1576" y="1062"/>
                    <a:pt x="1608" y="1079"/>
                  </a:cubicBezTo>
                  <a:cubicBezTo>
                    <a:pt x="1641" y="1096"/>
                    <a:pt x="1663" y="1090"/>
                    <a:pt x="1674" y="1066"/>
                  </a:cubicBezTo>
                  <a:cubicBezTo>
                    <a:pt x="1685" y="1042"/>
                    <a:pt x="1700" y="1042"/>
                    <a:pt x="1685" y="1020"/>
                  </a:cubicBezTo>
                  <a:cubicBezTo>
                    <a:pt x="1670" y="997"/>
                    <a:pt x="1672" y="979"/>
                    <a:pt x="1694" y="971"/>
                  </a:cubicBezTo>
                  <a:cubicBezTo>
                    <a:pt x="1715" y="964"/>
                    <a:pt x="1777" y="940"/>
                    <a:pt x="1801" y="910"/>
                  </a:cubicBezTo>
                  <a:cubicBezTo>
                    <a:pt x="1825" y="881"/>
                    <a:pt x="1851" y="870"/>
                    <a:pt x="1840" y="836"/>
                  </a:cubicBezTo>
                  <a:cubicBezTo>
                    <a:pt x="1829" y="803"/>
                    <a:pt x="1807" y="732"/>
                    <a:pt x="1862" y="681"/>
                  </a:cubicBezTo>
                  <a:cubicBezTo>
                    <a:pt x="1916" y="629"/>
                    <a:pt x="1936" y="640"/>
                    <a:pt x="1938" y="599"/>
                  </a:cubicBezTo>
                  <a:cubicBezTo>
                    <a:pt x="1940" y="558"/>
                    <a:pt x="1932" y="536"/>
                    <a:pt x="1954" y="523"/>
                  </a:cubicBezTo>
                  <a:cubicBezTo>
                    <a:pt x="1975" y="510"/>
                    <a:pt x="1978" y="504"/>
                    <a:pt x="1967" y="480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" name="Freeform 17"/>
            <p:cNvSpPr>
              <a:spLocks/>
            </p:cNvSpPr>
            <p:nvPr/>
          </p:nvSpPr>
          <p:spPr bwMode="auto">
            <a:xfrm>
              <a:off x="3238" y="1805"/>
              <a:ext cx="590" cy="922"/>
            </a:xfrm>
            <a:custGeom>
              <a:avLst/>
              <a:gdLst>
                <a:gd name="T0" fmla="*/ 1149 w 1273"/>
                <a:gd name="T1" fmla="*/ 1405 h 1992"/>
                <a:gd name="T2" fmla="*/ 1053 w 1273"/>
                <a:gd name="T3" fmla="*/ 1201 h 1992"/>
                <a:gd name="T4" fmla="*/ 1105 w 1273"/>
                <a:gd name="T5" fmla="*/ 957 h 1992"/>
                <a:gd name="T6" fmla="*/ 1044 w 1273"/>
                <a:gd name="T7" fmla="*/ 727 h 1992"/>
                <a:gd name="T8" fmla="*/ 1088 w 1273"/>
                <a:gd name="T9" fmla="*/ 590 h 1992"/>
                <a:gd name="T10" fmla="*/ 1088 w 1273"/>
                <a:gd name="T11" fmla="*/ 486 h 1992"/>
                <a:gd name="T12" fmla="*/ 1094 w 1273"/>
                <a:gd name="T13" fmla="*/ 280 h 1992"/>
                <a:gd name="T14" fmla="*/ 1131 w 1273"/>
                <a:gd name="T15" fmla="*/ 132 h 1992"/>
                <a:gd name="T16" fmla="*/ 1098 w 1273"/>
                <a:gd name="T17" fmla="*/ 0 h 1992"/>
                <a:gd name="T18" fmla="*/ 996 w 1273"/>
                <a:gd name="T19" fmla="*/ 76 h 1992"/>
                <a:gd name="T20" fmla="*/ 900 w 1273"/>
                <a:gd name="T21" fmla="*/ 110 h 1992"/>
                <a:gd name="T22" fmla="*/ 834 w 1273"/>
                <a:gd name="T23" fmla="*/ 265 h 1992"/>
                <a:gd name="T24" fmla="*/ 699 w 1273"/>
                <a:gd name="T25" fmla="*/ 380 h 1992"/>
                <a:gd name="T26" fmla="*/ 629 w 1273"/>
                <a:gd name="T27" fmla="*/ 506 h 1992"/>
                <a:gd name="T28" fmla="*/ 476 w 1273"/>
                <a:gd name="T29" fmla="*/ 491 h 1992"/>
                <a:gd name="T30" fmla="*/ 377 w 1273"/>
                <a:gd name="T31" fmla="*/ 501 h 1992"/>
                <a:gd name="T32" fmla="*/ 314 w 1273"/>
                <a:gd name="T33" fmla="*/ 595 h 1992"/>
                <a:gd name="T34" fmla="*/ 327 w 1273"/>
                <a:gd name="T35" fmla="*/ 704 h 1992"/>
                <a:gd name="T36" fmla="*/ 500 w 1273"/>
                <a:gd name="T37" fmla="*/ 784 h 1992"/>
                <a:gd name="T38" fmla="*/ 664 w 1273"/>
                <a:gd name="T39" fmla="*/ 901 h 1992"/>
                <a:gd name="T40" fmla="*/ 642 w 1273"/>
                <a:gd name="T41" fmla="*/ 1038 h 1992"/>
                <a:gd name="T42" fmla="*/ 563 w 1273"/>
                <a:gd name="T43" fmla="*/ 1120 h 1992"/>
                <a:gd name="T44" fmla="*/ 509 w 1273"/>
                <a:gd name="T45" fmla="*/ 1127 h 1992"/>
                <a:gd name="T46" fmla="*/ 472 w 1273"/>
                <a:gd name="T47" fmla="*/ 1196 h 1992"/>
                <a:gd name="T48" fmla="*/ 356 w 1273"/>
                <a:gd name="T49" fmla="*/ 1225 h 1992"/>
                <a:gd name="T50" fmla="*/ 205 w 1273"/>
                <a:gd name="T51" fmla="*/ 1183 h 1992"/>
                <a:gd name="T52" fmla="*/ 175 w 1273"/>
                <a:gd name="T53" fmla="*/ 1277 h 1992"/>
                <a:gd name="T54" fmla="*/ 179 w 1273"/>
                <a:gd name="T55" fmla="*/ 1331 h 1992"/>
                <a:gd name="T56" fmla="*/ 212 w 1273"/>
                <a:gd name="T57" fmla="*/ 1416 h 1992"/>
                <a:gd name="T58" fmla="*/ 179 w 1273"/>
                <a:gd name="T59" fmla="*/ 1481 h 1992"/>
                <a:gd name="T60" fmla="*/ 201 w 1273"/>
                <a:gd name="T61" fmla="*/ 1540 h 1992"/>
                <a:gd name="T62" fmla="*/ 148 w 1273"/>
                <a:gd name="T63" fmla="*/ 1551 h 1992"/>
                <a:gd name="T64" fmla="*/ 76 w 1273"/>
                <a:gd name="T65" fmla="*/ 1564 h 1992"/>
                <a:gd name="T66" fmla="*/ 61 w 1273"/>
                <a:gd name="T67" fmla="*/ 1624 h 1992"/>
                <a:gd name="T68" fmla="*/ 61 w 1273"/>
                <a:gd name="T69" fmla="*/ 1698 h 1992"/>
                <a:gd name="T70" fmla="*/ 46 w 1273"/>
                <a:gd name="T71" fmla="*/ 1735 h 1992"/>
                <a:gd name="T72" fmla="*/ 214 w 1273"/>
                <a:gd name="T73" fmla="*/ 1789 h 1992"/>
                <a:gd name="T74" fmla="*/ 349 w 1273"/>
                <a:gd name="T75" fmla="*/ 1823 h 1992"/>
                <a:gd name="T76" fmla="*/ 438 w 1273"/>
                <a:gd name="T77" fmla="*/ 1834 h 1992"/>
                <a:gd name="T78" fmla="*/ 536 w 1273"/>
                <a:gd name="T79" fmla="*/ 1890 h 1992"/>
                <a:gd name="T80" fmla="*/ 677 w 1273"/>
                <a:gd name="T81" fmla="*/ 1876 h 1992"/>
                <a:gd name="T82" fmla="*/ 805 w 1273"/>
                <a:gd name="T83" fmla="*/ 1929 h 1992"/>
                <a:gd name="T84" fmla="*/ 939 w 1273"/>
                <a:gd name="T85" fmla="*/ 1959 h 1992"/>
                <a:gd name="T86" fmla="*/ 970 w 1273"/>
                <a:gd name="T87" fmla="*/ 1909 h 1992"/>
                <a:gd name="T88" fmla="*/ 930 w 1273"/>
                <a:gd name="T89" fmla="*/ 1816 h 1992"/>
                <a:gd name="T90" fmla="*/ 1059 w 1273"/>
                <a:gd name="T91" fmla="*/ 1752 h 1992"/>
                <a:gd name="T92" fmla="*/ 974 w 1273"/>
                <a:gd name="T93" fmla="*/ 1679 h 1992"/>
                <a:gd name="T94" fmla="*/ 913 w 1273"/>
                <a:gd name="T95" fmla="*/ 1626 h 1992"/>
                <a:gd name="T96" fmla="*/ 1048 w 1273"/>
                <a:gd name="T97" fmla="*/ 1603 h 1992"/>
                <a:gd name="T98" fmla="*/ 1168 w 1273"/>
                <a:gd name="T99" fmla="*/ 1607 h 1992"/>
                <a:gd name="T100" fmla="*/ 1256 w 1273"/>
                <a:gd name="T101" fmla="*/ 1527 h 1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273" h="1992">
                  <a:moveTo>
                    <a:pt x="1256" y="1527"/>
                  </a:moveTo>
                  <a:cubicBezTo>
                    <a:pt x="1238" y="1499"/>
                    <a:pt x="1164" y="1449"/>
                    <a:pt x="1149" y="1405"/>
                  </a:cubicBezTo>
                  <a:cubicBezTo>
                    <a:pt x="1133" y="1360"/>
                    <a:pt x="1118" y="1342"/>
                    <a:pt x="1092" y="1314"/>
                  </a:cubicBezTo>
                  <a:cubicBezTo>
                    <a:pt x="1066" y="1286"/>
                    <a:pt x="1055" y="1257"/>
                    <a:pt x="1053" y="1201"/>
                  </a:cubicBezTo>
                  <a:cubicBezTo>
                    <a:pt x="1050" y="1146"/>
                    <a:pt x="1066" y="1110"/>
                    <a:pt x="1081" y="1075"/>
                  </a:cubicBezTo>
                  <a:cubicBezTo>
                    <a:pt x="1096" y="1040"/>
                    <a:pt x="1131" y="1016"/>
                    <a:pt x="1105" y="957"/>
                  </a:cubicBezTo>
                  <a:cubicBezTo>
                    <a:pt x="1079" y="897"/>
                    <a:pt x="1063" y="888"/>
                    <a:pt x="1063" y="853"/>
                  </a:cubicBezTo>
                  <a:cubicBezTo>
                    <a:pt x="1063" y="818"/>
                    <a:pt x="1070" y="753"/>
                    <a:pt x="1044" y="727"/>
                  </a:cubicBezTo>
                  <a:cubicBezTo>
                    <a:pt x="1018" y="701"/>
                    <a:pt x="1033" y="664"/>
                    <a:pt x="1048" y="638"/>
                  </a:cubicBezTo>
                  <a:cubicBezTo>
                    <a:pt x="1063" y="612"/>
                    <a:pt x="1107" y="617"/>
                    <a:pt x="1088" y="590"/>
                  </a:cubicBezTo>
                  <a:cubicBezTo>
                    <a:pt x="1068" y="562"/>
                    <a:pt x="1066" y="556"/>
                    <a:pt x="1085" y="540"/>
                  </a:cubicBezTo>
                  <a:cubicBezTo>
                    <a:pt x="1105" y="523"/>
                    <a:pt x="1103" y="504"/>
                    <a:pt x="1088" y="486"/>
                  </a:cubicBezTo>
                  <a:cubicBezTo>
                    <a:pt x="1072" y="467"/>
                    <a:pt x="989" y="395"/>
                    <a:pt x="1029" y="360"/>
                  </a:cubicBezTo>
                  <a:cubicBezTo>
                    <a:pt x="1068" y="325"/>
                    <a:pt x="1092" y="328"/>
                    <a:pt x="1094" y="280"/>
                  </a:cubicBezTo>
                  <a:cubicBezTo>
                    <a:pt x="1096" y="232"/>
                    <a:pt x="1101" y="236"/>
                    <a:pt x="1107" y="199"/>
                  </a:cubicBezTo>
                  <a:cubicBezTo>
                    <a:pt x="1114" y="161"/>
                    <a:pt x="1116" y="148"/>
                    <a:pt x="1131" y="132"/>
                  </a:cubicBezTo>
                  <a:cubicBezTo>
                    <a:pt x="1146" y="115"/>
                    <a:pt x="1155" y="84"/>
                    <a:pt x="1140" y="65"/>
                  </a:cubicBezTo>
                  <a:cubicBezTo>
                    <a:pt x="1128" y="51"/>
                    <a:pt x="1107" y="25"/>
                    <a:pt x="1098" y="0"/>
                  </a:cubicBezTo>
                  <a:cubicBezTo>
                    <a:pt x="1092" y="1"/>
                    <a:pt x="1085" y="8"/>
                    <a:pt x="1074" y="24"/>
                  </a:cubicBezTo>
                  <a:cubicBezTo>
                    <a:pt x="1039" y="80"/>
                    <a:pt x="1018" y="91"/>
                    <a:pt x="996" y="76"/>
                  </a:cubicBezTo>
                  <a:cubicBezTo>
                    <a:pt x="974" y="61"/>
                    <a:pt x="917" y="21"/>
                    <a:pt x="917" y="47"/>
                  </a:cubicBezTo>
                  <a:cubicBezTo>
                    <a:pt x="917" y="73"/>
                    <a:pt x="926" y="87"/>
                    <a:pt x="900" y="110"/>
                  </a:cubicBezTo>
                  <a:cubicBezTo>
                    <a:pt x="873" y="132"/>
                    <a:pt x="839" y="136"/>
                    <a:pt x="843" y="173"/>
                  </a:cubicBezTo>
                  <a:cubicBezTo>
                    <a:pt x="847" y="210"/>
                    <a:pt x="904" y="258"/>
                    <a:pt x="834" y="265"/>
                  </a:cubicBezTo>
                  <a:cubicBezTo>
                    <a:pt x="764" y="273"/>
                    <a:pt x="777" y="273"/>
                    <a:pt x="764" y="302"/>
                  </a:cubicBezTo>
                  <a:cubicBezTo>
                    <a:pt x="751" y="332"/>
                    <a:pt x="716" y="354"/>
                    <a:pt x="699" y="380"/>
                  </a:cubicBezTo>
                  <a:cubicBezTo>
                    <a:pt x="681" y="406"/>
                    <a:pt x="651" y="417"/>
                    <a:pt x="651" y="454"/>
                  </a:cubicBezTo>
                  <a:cubicBezTo>
                    <a:pt x="651" y="491"/>
                    <a:pt x="659" y="506"/>
                    <a:pt x="629" y="506"/>
                  </a:cubicBezTo>
                  <a:cubicBezTo>
                    <a:pt x="598" y="506"/>
                    <a:pt x="576" y="554"/>
                    <a:pt x="550" y="528"/>
                  </a:cubicBezTo>
                  <a:cubicBezTo>
                    <a:pt x="524" y="502"/>
                    <a:pt x="493" y="469"/>
                    <a:pt x="476" y="491"/>
                  </a:cubicBezTo>
                  <a:cubicBezTo>
                    <a:pt x="458" y="514"/>
                    <a:pt x="410" y="502"/>
                    <a:pt x="384" y="502"/>
                  </a:cubicBezTo>
                  <a:cubicBezTo>
                    <a:pt x="381" y="502"/>
                    <a:pt x="379" y="502"/>
                    <a:pt x="377" y="501"/>
                  </a:cubicBezTo>
                  <a:cubicBezTo>
                    <a:pt x="364" y="519"/>
                    <a:pt x="352" y="532"/>
                    <a:pt x="334" y="545"/>
                  </a:cubicBezTo>
                  <a:cubicBezTo>
                    <a:pt x="310" y="562"/>
                    <a:pt x="323" y="573"/>
                    <a:pt x="314" y="595"/>
                  </a:cubicBezTo>
                  <a:cubicBezTo>
                    <a:pt x="306" y="617"/>
                    <a:pt x="306" y="623"/>
                    <a:pt x="323" y="645"/>
                  </a:cubicBezTo>
                  <a:cubicBezTo>
                    <a:pt x="341" y="667"/>
                    <a:pt x="319" y="679"/>
                    <a:pt x="327" y="704"/>
                  </a:cubicBezTo>
                  <a:cubicBezTo>
                    <a:pt x="336" y="730"/>
                    <a:pt x="391" y="740"/>
                    <a:pt x="430" y="747"/>
                  </a:cubicBezTo>
                  <a:cubicBezTo>
                    <a:pt x="469" y="754"/>
                    <a:pt x="472" y="760"/>
                    <a:pt x="500" y="784"/>
                  </a:cubicBezTo>
                  <a:cubicBezTo>
                    <a:pt x="528" y="808"/>
                    <a:pt x="592" y="814"/>
                    <a:pt x="631" y="825"/>
                  </a:cubicBezTo>
                  <a:cubicBezTo>
                    <a:pt x="670" y="836"/>
                    <a:pt x="648" y="868"/>
                    <a:pt x="664" y="901"/>
                  </a:cubicBezTo>
                  <a:cubicBezTo>
                    <a:pt x="679" y="934"/>
                    <a:pt x="646" y="938"/>
                    <a:pt x="624" y="966"/>
                  </a:cubicBezTo>
                  <a:cubicBezTo>
                    <a:pt x="603" y="994"/>
                    <a:pt x="622" y="1016"/>
                    <a:pt x="642" y="1038"/>
                  </a:cubicBezTo>
                  <a:cubicBezTo>
                    <a:pt x="662" y="1060"/>
                    <a:pt x="668" y="1070"/>
                    <a:pt x="662" y="1095"/>
                  </a:cubicBezTo>
                  <a:cubicBezTo>
                    <a:pt x="655" y="1121"/>
                    <a:pt x="590" y="1123"/>
                    <a:pt x="563" y="1120"/>
                  </a:cubicBezTo>
                  <a:cubicBezTo>
                    <a:pt x="537" y="1116"/>
                    <a:pt x="544" y="1114"/>
                    <a:pt x="537" y="1127"/>
                  </a:cubicBezTo>
                  <a:cubicBezTo>
                    <a:pt x="531" y="1140"/>
                    <a:pt x="526" y="1138"/>
                    <a:pt x="509" y="1127"/>
                  </a:cubicBezTo>
                  <a:cubicBezTo>
                    <a:pt x="491" y="1116"/>
                    <a:pt x="489" y="1129"/>
                    <a:pt x="461" y="1136"/>
                  </a:cubicBezTo>
                  <a:cubicBezTo>
                    <a:pt x="432" y="1144"/>
                    <a:pt x="472" y="1162"/>
                    <a:pt x="472" y="1196"/>
                  </a:cubicBezTo>
                  <a:cubicBezTo>
                    <a:pt x="472" y="1229"/>
                    <a:pt x="445" y="1209"/>
                    <a:pt x="419" y="1209"/>
                  </a:cubicBezTo>
                  <a:cubicBezTo>
                    <a:pt x="393" y="1209"/>
                    <a:pt x="389" y="1222"/>
                    <a:pt x="356" y="1225"/>
                  </a:cubicBezTo>
                  <a:cubicBezTo>
                    <a:pt x="323" y="1229"/>
                    <a:pt x="297" y="1207"/>
                    <a:pt x="288" y="1188"/>
                  </a:cubicBezTo>
                  <a:cubicBezTo>
                    <a:pt x="279" y="1170"/>
                    <a:pt x="249" y="1179"/>
                    <a:pt x="205" y="1183"/>
                  </a:cubicBezTo>
                  <a:cubicBezTo>
                    <a:pt x="161" y="1186"/>
                    <a:pt x="172" y="1222"/>
                    <a:pt x="183" y="1238"/>
                  </a:cubicBezTo>
                  <a:cubicBezTo>
                    <a:pt x="194" y="1255"/>
                    <a:pt x="192" y="1270"/>
                    <a:pt x="175" y="1277"/>
                  </a:cubicBezTo>
                  <a:cubicBezTo>
                    <a:pt x="157" y="1285"/>
                    <a:pt x="144" y="1305"/>
                    <a:pt x="142" y="1320"/>
                  </a:cubicBezTo>
                  <a:cubicBezTo>
                    <a:pt x="140" y="1335"/>
                    <a:pt x="159" y="1335"/>
                    <a:pt x="179" y="1331"/>
                  </a:cubicBezTo>
                  <a:cubicBezTo>
                    <a:pt x="199" y="1327"/>
                    <a:pt x="207" y="1348"/>
                    <a:pt x="223" y="1362"/>
                  </a:cubicBezTo>
                  <a:cubicBezTo>
                    <a:pt x="238" y="1377"/>
                    <a:pt x="210" y="1394"/>
                    <a:pt x="212" y="1416"/>
                  </a:cubicBezTo>
                  <a:cubicBezTo>
                    <a:pt x="214" y="1438"/>
                    <a:pt x="199" y="1438"/>
                    <a:pt x="188" y="1455"/>
                  </a:cubicBezTo>
                  <a:cubicBezTo>
                    <a:pt x="177" y="1472"/>
                    <a:pt x="168" y="1474"/>
                    <a:pt x="179" y="1481"/>
                  </a:cubicBezTo>
                  <a:cubicBezTo>
                    <a:pt x="190" y="1488"/>
                    <a:pt x="199" y="1498"/>
                    <a:pt x="181" y="1514"/>
                  </a:cubicBezTo>
                  <a:cubicBezTo>
                    <a:pt x="164" y="1531"/>
                    <a:pt x="181" y="1525"/>
                    <a:pt x="201" y="1540"/>
                  </a:cubicBezTo>
                  <a:cubicBezTo>
                    <a:pt x="220" y="1555"/>
                    <a:pt x="214" y="1570"/>
                    <a:pt x="185" y="1572"/>
                  </a:cubicBezTo>
                  <a:cubicBezTo>
                    <a:pt x="157" y="1574"/>
                    <a:pt x="161" y="1562"/>
                    <a:pt x="148" y="1551"/>
                  </a:cubicBezTo>
                  <a:cubicBezTo>
                    <a:pt x="135" y="1540"/>
                    <a:pt x="129" y="1555"/>
                    <a:pt x="124" y="1568"/>
                  </a:cubicBezTo>
                  <a:cubicBezTo>
                    <a:pt x="120" y="1581"/>
                    <a:pt x="92" y="1568"/>
                    <a:pt x="76" y="1564"/>
                  </a:cubicBezTo>
                  <a:cubicBezTo>
                    <a:pt x="61" y="1561"/>
                    <a:pt x="48" y="1579"/>
                    <a:pt x="24" y="1592"/>
                  </a:cubicBezTo>
                  <a:cubicBezTo>
                    <a:pt x="0" y="1605"/>
                    <a:pt x="37" y="1616"/>
                    <a:pt x="61" y="1624"/>
                  </a:cubicBezTo>
                  <a:cubicBezTo>
                    <a:pt x="85" y="1631"/>
                    <a:pt x="83" y="1638"/>
                    <a:pt x="68" y="1655"/>
                  </a:cubicBezTo>
                  <a:cubicBezTo>
                    <a:pt x="52" y="1672"/>
                    <a:pt x="83" y="1685"/>
                    <a:pt x="61" y="1698"/>
                  </a:cubicBezTo>
                  <a:cubicBezTo>
                    <a:pt x="49" y="1705"/>
                    <a:pt x="34" y="1721"/>
                    <a:pt x="24" y="1734"/>
                  </a:cubicBezTo>
                  <a:cubicBezTo>
                    <a:pt x="32" y="1734"/>
                    <a:pt x="39" y="1735"/>
                    <a:pt x="46" y="1735"/>
                  </a:cubicBezTo>
                  <a:cubicBezTo>
                    <a:pt x="78" y="1735"/>
                    <a:pt x="81" y="1768"/>
                    <a:pt x="109" y="1800"/>
                  </a:cubicBezTo>
                  <a:cubicBezTo>
                    <a:pt x="137" y="1831"/>
                    <a:pt x="179" y="1807"/>
                    <a:pt x="214" y="1789"/>
                  </a:cubicBezTo>
                  <a:cubicBezTo>
                    <a:pt x="249" y="1770"/>
                    <a:pt x="271" y="1778"/>
                    <a:pt x="313" y="1776"/>
                  </a:cubicBezTo>
                  <a:cubicBezTo>
                    <a:pt x="356" y="1773"/>
                    <a:pt x="333" y="1803"/>
                    <a:pt x="349" y="1823"/>
                  </a:cubicBezTo>
                  <a:cubicBezTo>
                    <a:pt x="366" y="1842"/>
                    <a:pt x="382" y="1831"/>
                    <a:pt x="402" y="1823"/>
                  </a:cubicBezTo>
                  <a:cubicBezTo>
                    <a:pt x="421" y="1815"/>
                    <a:pt x="428" y="1817"/>
                    <a:pt x="438" y="1834"/>
                  </a:cubicBezTo>
                  <a:cubicBezTo>
                    <a:pt x="448" y="1851"/>
                    <a:pt x="457" y="1851"/>
                    <a:pt x="474" y="1845"/>
                  </a:cubicBezTo>
                  <a:cubicBezTo>
                    <a:pt x="490" y="1840"/>
                    <a:pt x="510" y="1867"/>
                    <a:pt x="536" y="1890"/>
                  </a:cubicBezTo>
                  <a:cubicBezTo>
                    <a:pt x="562" y="1912"/>
                    <a:pt x="585" y="1895"/>
                    <a:pt x="611" y="1876"/>
                  </a:cubicBezTo>
                  <a:cubicBezTo>
                    <a:pt x="638" y="1856"/>
                    <a:pt x="654" y="1876"/>
                    <a:pt x="677" y="1876"/>
                  </a:cubicBezTo>
                  <a:cubicBezTo>
                    <a:pt x="700" y="1876"/>
                    <a:pt x="723" y="1895"/>
                    <a:pt x="739" y="1912"/>
                  </a:cubicBezTo>
                  <a:cubicBezTo>
                    <a:pt x="756" y="1929"/>
                    <a:pt x="769" y="1931"/>
                    <a:pt x="805" y="1929"/>
                  </a:cubicBezTo>
                  <a:cubicBezTo>
                    <a:pt x="841" y="1926"/>
                    <a:pt x="828" y="1937"/>
                    <a:pt x="857" y="1965"/>
                  </a:cubicBezTo>
                  <a:cubicBezTo>
                    <a:pt x="887" y="1992"/>
                    <a:pt x="903" y="1976"/>
                    <a:pt x="939" y="1959"/>
                  </a:cubicBezTo>
                  <a:cubicBezTo>
                    <a:pt x="947" y="1955"/>
                    <a:pt x="955" y="1954"/>
                    <a:pt x="963" y="1952"/>
                  </a:cubicBezTo>
                  <a:cubicBezTo>
                    <a:pt x="968" y="1936"/>
                    <a:pt x="973" y="1918"/>
                    <a:pt x="970" y="1909"/>
                  </a:cubicBezTo>
                  <a:cubicBezTo>
                    <a:pt x="963" y="1891"/>
                    <a:pt x="948" y="1874"/>
                    <a:pt x="928" y="1859"/>
                  </a:cubicBezTo>
                  <a:cubicBezTo>
                    <a:pt x="908" y="1844"/>
                    <a:pt x="915" y="1837"/>
                    <a:pt x="930" y="1816"/>
                  </a:cubicBezTo>
                  <a:cubicBezTo>
                    <a:pt x="946" y="1796"/>
                    <a:pt x="943" y="1768"/>
                    <a:pt x="978" y="1770"/>
                  </a:cubicBezTo>
                  <a:cubicBezTo>
                    <a:pt x="1013" y="1772"/>
                    <a:pt x="1057" y="1774"/>
                    <a:pt x="1059" y="1752"/>
                  </a:cubicBezTo>
                  <a:cubicBezTo>
                    <a:pt x="1061" y="1729"/>
                    <a:pt x="1074" y="1696"/>
                    <a:pt x="1044" y="1694"/>
                  </a:cubicBezTo>
                  <a:cubicBezTo>
                    <a:pt x="1013" y="1692"/>
                    <a:pt x="972" y="1698"/>
                    <a:pt x="974" y="1679"/>
                  </a:cubicBezTo>
                  <a:cubicBezTo>
                    <a:pt x="976" y="1661"/>
                    <a:pt x="978" y="1644"/>
                    <a:pt x="952" y="1644"/>
                  </a:cubicBezTo>
                  <a:cubicBezTo>
                    <a:pt x="926" y="1644"/>
                    <a:pt x="913" y="1637"/>
                    <a:pt x="913" y="1626"/>
                  </a:cubicBezTo>
                  <a:cubicBezTo>
                    <a:pt x="913" y="1614"/>
                    <a:pt x="904" y="1592"/>
                    <a:pt x="965" y="1600"/>
                  </a:cubicBezTo>
                  <a:cubicBezTo>
                    <a:pt x="1026" y="1607"/>
                    <a:pt x="1042" y="1587"/>
                    <a:pt x="1048" y="1603"/>
                  </a:cubicBezTo>
                  <a:cubicBezTo>
                    <a:pt x="1055" y="1620"/>
                    <a:pt x="1059" y="1620"/>
                    <a:pt x="1092" y="1620"/>
                  </a:cubicBezTo>
                  <a:cubicBezTo>
                    <a:pt x="1125" y="1620"/>
                    <a:pt x="1127" y="1588"/>
                    <a:pt x="1168" y="1607"/>
                  </a:cubicBezTo>
                  <a:cubicBezTo>
                    <a:pt x="1210" y="1626"/>
                    <a:pt x="1210" y="1614"/>
                    <a:pt x="1232" y="1592"/>
                  </a:cubicBezTo>
                  <a:cubicBezTo>
                    <a:pt x="1254" y="1570"/>
                    <a:pt x="1273" y="1555"/>
                    <a:pt x="1256" y="1527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" name="Freeform 18"/>
            <p:cNvSpPr>
              <a:spLocks/>
            </p:cNvSpPr>
            <p:nvPr/>
          </p:nvSpPr>
          <p:spPr bwMode="auto">
            <a:xfrm>
              <a:off x="3030" y="3028"/>
              <a:ext cx="700" cy="551"/>
            </a:xfrm>
            <a:custGeom>
              <a:avLst/>
              <a:gdLst>
                <a:gd name="T0" fmla="*/ 1227 w 1511"/>
                <a:gd name="T1" fmla="*/ 158 h 1190"/>
                <a:gd name="T2" fmla="*/ 1173 w 1511"/>
                <a:gd name="T3" fmla="*/ 104 h 1190"/>
                <a:gd name="T4" fmla="*/ 1123 w 1511"/>
                <a:gd name="T5" fmla="*/ 32 h 1190"/>
                <a:gd name="T6" fmla="*/ 1024 w 1511"/>
                <a:gd name="T7" fmla="*/ 35 h 1190"/>
                <a:gd name="T8" fmla="*/ 943 w 1511"/>
                <a:gd name="T9" fmla="*/ 43 h 1190"/>
                <a:gd name="T10" fmla="*/ 880 w 1511"/>
                <a:gd name="T11" fmla="*/ 89 h 1190"/>
                <a:gd name="T12" fmla="*/ 756 w 1511"/>
                <a:gd name="T13" fmla="*/ 180 h 1190"/>
                <a:gd name="T14" fmla="*/ 592 w 1511"/>
                <a:gd name="T15" fmla="*/ 139 h 1190"/>
                <a:gd name="T16" fmla="*/ 500 w 1511"/>
                <a:gd name="T17" fmla="*/ 191 h 1190"/>
                <a:gd name="T18" fmla="*/ 620 w 1511"/>
                <a:gd name="T19" fmla="*/ 287 h 1190"/>
                <a:gd name="T20" fmla="*/ 675 w 1511"/>
                <a:gd name="T21" fmla="*/ 361 h 1190"/>
                <a:gd name="T22" fmla="*/ 572 w 1511"/>
                <a:gd name="T23" fmla="*/ 389 h 1190"/>
                <a:gd name="T24" fmla="*/ 469 w 1511"/>
                <a:gd name="T25" fmla="*/ 393 h 1190"/>
                <a:gd name="T26" fmla="*/ 419 w 1511"/>
                <a:gd name="T27" fmla="*/ 398 h 1190"/>
                <a:gd name="T28" fmla="*/ 293 w 1511"/>
                <a:gd name="T29" fmla="*/ 504 h 1190"/>
                <a:gd name="T30" fmla="*/ 144 w 1511"/>
                <a:gd name="T31" fmla="*/ 523 h 1190"/>
                <a:gd name="T32" fmla="*/ 35 w 1511"/>
                <a:gd name="T33" fmla="*/ 549 h 1190"/>
                <a:gd name="T34" fmla="*/ 30 w 1511"/>
                <a:gd name="T35" fmla="*/ 630 h 1190"/>
                <a:gd name="T36" fmla="*/ 113 w 1511"/>
                <a:gd name="T37" fmla="*/ 704 h 1190"/>
                <a:gd name="T38" fmla="*/ 210 w 1511"/>
                <a:gd name="T39" fmla="*/ 678 h 1190"/>
                <a:gd name="T40" fmla="*/ 258 w 1511"/>
                <a:gd name="T41" fmla="*/ 790 h 1190"/>
                <a:gd name="T42" fmla="*/ 201 w 1511"/>
                <a:gd name="T43" fmla="*/ 953 h 1190"/>
                <a:gd name="T44" fmla="*/ 258 w 1511"/>
                <a:gd name="T45" fmla="*/ 1127 h 1190"/>
                <a:gd name="T46" fmla="*/ 376 w 1511"/>
                <a:gd name="T47" fmla="*/ 1138 h 1190"/>
                <a:gd name="T48" fmla="*/ 524 w 1511"/>
                <a:gd name="T49" fmla="*/ 1134 h 1190"/>
                <a:gd name="T50" fmla="*/ 673 w 1511"/>
                <a:gd name="T51" fmla="*/ 1112 h 1190"/>
                <a:gd name="T52" fmla="*/ 847 w 1511"/>
                <a:gd name="T53" fmla="*/ 1023 h 1190"/>
                <a:gd name="T54" fmla="*/ 970 w 1511"/>
                <a:gd name="T55" fmla="*/ 979 h 1190"/>
                <a:gd name="T56" fmla="*/ 1088 w 1511"/>
                <a:gd name="T57" fmla="*/ 1030 h 1190"/>
                <a:gd name="T58" fmla="*/ 1171 w 1511"/>
                <a:gd name="T59" fmla="*/ 956 h 1190"/>
                <a:gd name="T60" fmla="*/ 1302 w 1511"/>
                <a:gd name="T61" fmla="*/ 927 h 1190"/>
                <a:gd name="T62" fmla="*/ 1372 w 1511"/>
                <a:gd name="T63" fmla="*/ 860 h 1190"/>
                <a:gd name="T64" fmla="*/ 1489 w 1511"/>
                <a:gd name="T65" fmla="*/ 819 h 1190"/>
                <a:gd name="T66" fmla="*/ 1468 w 1511"/>
                <a:gd name="T67" fmla="*/ 671 h 1190"/>
                <a:gd name="T68" fmla="*/ 1472 w 1511"/>
                <a:gd name="T69" fmla="*/ 593 h 1190"/>
                <a:gd name="T70" fmla="*/ 1393 w 1511"/>
                <a:gd name="T71" fmla="*/ 512 h 1190"/>
                <a:gd name="T72" fmla="*/ 1341 w 1511"/>
                <a:gd name="T73" fmla="*/ 486 h 1190"/>
                <a:gd name="T74" fmla="*/ 1437 w 1511"/>
                <a:gd name="T75" fmla="*/ 345 h 1190"/>
                <a:gd name="T76" fmla="*/ 1402 w 1511"/>
                <a:gd name="T77" fmla="*/ 200 h 1190"/>
                <a:gd name="T78" fmla="*/ 1352 w 1511"/>
                <a:gd name="T79" fmla="*/ 222 h 1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11" h="1190">
                  <a:moveTo>
                    <a:pt x="1275" y="219"/>
                  </a:moveTo>
                  <a:cubicBezTo>
                    <a:pt x="1234" y="202"/>
                    <a:pt x="1240" y="182"/>
                    <a:pt x="1227" y="158"/>
                  </a:cubicBezTo>
                  <a:cubicBezTo>
                    <a:pt x="1214" y="134"/>
                    <a:pt x="1195" y="132"/>
                    <a:pt x="1171" y="128"/>
                  </a:cubicBezTo>
                  <a:cubicBezTo>
                    <a:pt x="1147" y="124"/>
                    <a:pt x="1162" y="121"/>
                    <a:pt x="1173" y="104"/>
                  </a:cubicBezTo>
                  <a:cubicBezTo>
                    <a:pt x="1184" y="87"/>
                    <a:pt x="1160" y="80"/>
                    <a:pt x="1160" y="65"/>
                  </a:cubicBezTo>
                  <a:cubicBezTo>
                    <a:pt x="1160" y="50"/>
                    <a:pt x="1151" y="33"/>
                    <a:pt x="1123" y="32"/>
                  </a:cubicBezTo>
                  <a:cubicBezTo>
                    <a:pt x="1094" y="30"/>
                    <a:pt x="1083" y="33"/>
                    <a:pt x="1066" y="54"/>
                  </a:cubicBezTo>
                  <a:cubicBezTo>
                    <a:pt x="1048" y="74"/>
                    <a:pt x="1029" y="54"/>
                    <a:pt x="1024" y="35"/>
                  </a:cubicBezTo>
                  <a:cubicBezTo>
                    <a:pt x="1020" y="17"/>
                    <a:pt x="991" y="11"/>
                    <a:pt x="965" y="6"/>
                  </a:cubicBezTo>
                  <a:cubicBezTo>
                    <a:pt x="939" y="0"/>
                    <a:pt x="924" y="24"/>
                    <a:pt x="943" y="43"/>
                  </a:cubicBezTo>
                  <a:cubicBezTo>
                    <a:pt x="963" y="61"/>
                    <a:pt x="954" y="76"/>
                    <a:pt x="941" y="95"/>
                  </a:cubicBezTo>
                  <a:cubicBezTo>
                    <a:pt x="928" y="113"/>
                    <a:pt x="913" y="115"/>
                    <a:pt x="880" y="89"/>
                  </a:cubicBezTo>
                  <a:cubicBezTo>
                    <a:pt x="847" y="63"/>
                    <a:pt x="823" y="113"/>
                    <a:pt x="784" y="119"/>
                  </a:cubicBezTo>
                  <a:cubicBezTo>
                    <a:pt x="745" y="124"/>
                    <a:pt x="784" y="156"/>
                    <a:pt x="756" y="180"/>
                  </a:cubicBezTo>
                  <a:cubicBezTo>
                    <a:pt x="727" y="204"/>
                    <a:pt x="688" y="191"/>
                    <a:pt x="657" y="187"/>
                  </a:cubicBezTo>
                  <a:cubicBezTo>
                    <a:pt x="627" y="184"/>
                    <a:pt x="620" y="161"/>
                    <a:pt x="592" y="139"/>
                  </a:cubicBezTo>
                  <a:cubicBezTo>
                    <a:pt x="563" y="117"/>
                    <a:pt x="570" y="146"/>
                    <a:pt x="555" y="163"/>
                  </a:cubicBezTo>
                  <a:cubicBezTo>
                    <a:pt x="539" y="180"/>
                    <a:pt x="518" y="176"/>
                    <a:pt x="500" y="191"/>
                  </a:cubicBezTo>
                  <a:cubicBezTo>
                    <a:pt x="483" y="206"/>
                    <a:pt x="504" y="235"/>
                    <a:pt x="531" y="254"/>
                  </a:cubicBezTo>
                  <a:cubicBezTo>
                    <a:pt x="557" y="272"/>
                    <a:pt x="579" y="287"/>
                    <a:pt x="620" y="287"/>
                  </a:cubicBezTo>
                  <a:cubicBezTo>
                    <a:pt x="662" y="287"/>
                    <a:pt x="642" y="300"/>
                    <a:pt x="644" y="317"/>
                  </a:cubicBezTo>
                  <a:cubicBezTo>
                    <a:pt x="646" y="334"/>
                    <a:pt x="660" y="341"/>
                    <a:pt x="675" y="361"/>
                  </a:cubicBezTo>
                  <a:cubicBezTo>
                    <a:pt x="690" y="382"/>
                    <a:pt x="662" y="384"/>
                    <a:pt x="635" y="382"/>
                  </a:cubicBezTo>
                  <a:cubicBezTo>
                    <a:pt x="609" y="380"/>
                    <a:pt x="596" y="389"/>
                    <a:pt x="572" y="389"/>
                  </a:cubicBezTo>
                  <a:cubicBezTo>
                    <a:pt x="548" y="389"/>
                    <a:pt x="548" y="399"/>
                    <a:pt x="522" y="410"/>
                  </a:cubicBezTo>
                  <a:cubicBezTo>
                    <a:pt x="496" y="421"/>
                    <a:pt x="483" y="408"/>
                    <a:pt x="469" y="393"/>
                  </a:cubicBezTo>
                  <a:cubicBezTo>
                    <a:pt x="456" y="378"/>
                    <a:pt x="450" y="387"/>
                    <a:pt x="437" y="399"/>
                  </a:cubicBezTo>
                  <a:cubicBezTo>
                    <a:pt x="433" y="402"/>
                    <a:pt x="426" y="401"/>
                    <a:pt x="419" y="398"/>
                  </a:cubicBezTo>
                  <a:cubicBezTo>
                    <a:pt x="414" y="430"/>
                    <a:pt x="409" y="486"/>
                    <a:pt x="384" y="489"/>
                  </a:cubicBezTo>
                  <a:cubicBezTo>
                    <a:pt x="358" y="493"/>
                    <a:pt x="341" y="497"/>
                    <a:pt x="293" y="504"/>
                  </a:cubicBezTo>
                  <a:cubicBezTo>
                    <a:pt x="245" y="512"/>
                    <a:pt x="240" y="508"/>
                    <a:pt x="175" y="493"/>
                  </a:cubicBezTo>
                  <a:cubicBezTo>
                    <a:pt x="109" y="478"/>
                    <a:pt x="175" y="493"/>
                    <a:pt x="144" y="523"/>
                  </a:cubicBezTo>
                  <a:cubicBezTo>
                    <a:pt x="113" y="552"/>
                    <a:pt x="113" y="526"/>
                    <a:pt x="96" y="493"/>
                  </a:cubicBezTo>
                  <a:cubicBezTo>
                    <a:pt x="79" y="460"/>
                    <a:pt x="70" y="504"/>
                    <a:pt x="35" y="549"/>
                  </a:cubicBezTo>
                  <a:cubicBezTo>
                    <a:pt x="0" y="593"/>
                    <a:pt x="9" y="571"/>
                    <a:pt x="35" y="593"/>
                  </a:cubicBezTo>
                  <a:cubicBezTo>
                    <a:pt x="61" y="615"/>
                    <a:pt x="52" y="619"/>
                    <a:pt x="30" y="630"/>
                  </a:cubicBezTo>
                  <a:cubicBezTo>
                    <a:pt x="9" y="641"/>
                    <a:pt x="26" y="686"/>
                    <a:pt x="52" y="704"/>
                  </a:cubicBezTo>
                  <a:cubicBezTo>
                    <a:pt x="79" y="723"/>
                    <a:pt x="113" y="727"/>
                    <a:pt x="113" y="704"/>
                  </a:cubicBezTo>
                  <a:cubicBezTo>
                    <a:pt x="113" y="682"/>
                    <a:pt x="140" y="689"/>
                    <a:pt x="153" y="701"/>
                  </a:cubicBezTo>
                  <a:cubicBezTo>
                    <a:pt x="166" y="712"/>
                    <a:pt x="183" y="675"/>
                    <a:pt x="210" y="678"/>
                  </a:cubicBezTo>
                  <a:cubicBezTo>
                    <a:pt x="236" y="682"/>
                    <a:pt x="240" y="708"/>
                    <a:pt x="258" y="723"/>
                  </a:cubicBezTo>
                  <a:cubicBezTo>
                    <a:pt x="275" y="738"/>
                    <a:pt x="275" y="767"/>
                    <a:pt x="258" y="790"/>
                  </a:cubicBezTo>
                  <a:cubicBezTo>
                    <a:pt x="240" y="812"/>
                    <a:pt x="236" y="812"/>
                    <a:pt x="201" y="856"/>
                  </a:cubicBezTo>
                  <a:cubicBezTo>
                    <a:pt x="166" y="901"/>
                    <a:pt x="201" y="927"/>
                    <a:pt x="201" y="953"/>
                  </a:cubicBezTo>
                  <a:cubicBezTo>
                    <a:pt x="201" y="979"/>
                    <a:pt x="258" y="1005"/>
                    <a:pt x="284" y="1027"/>
                  </a:cubicBezTo>
                  <a:cubicBezTo>
                    <a:pt x="310" y="1049"/>
                    <a:pt x="297" y="1093"/>
                    <a:pt x="258" y="1127"/>
                  </a:cubicBezTo>
                  <a:cubicBezTo>
                    <a:pt x="218" y="1160"/>
                    <a:pt x="262" y="1179"/>
                    <a:pt x="306" y="1179"/>
                  </a:cubicBezTo>
                  <a:cubicBezTo>
                    <a:pt x="349" y="1179"/>
                    <a:pt x="358" y="1160"/>
                    <a:pt x="376" y="1138"/>
                  </a:cubicBezTo>
                  <a:cubicBezTo>
                    <a:pt x="393" y="1116"/>
                    <a:pt x="397" y="1101"/>
                    <a:pt x="432" y="1097"/>
                  </a:cubicBezTo>
                  <a:cubicBezTo>
                    <a:pt x="467" y="1093"/>
                    <a:pt x="498" y="1138"/>
                    <a:pt x="524" y="1134"/>
                  </a:cubicBezTo>
                  <a:cubicBezTo>
                    <a:pt x="550" y="1131"/>
                    <a:pt x="581" y="1145"/>
                    <a:pt x="616" y="1168"/>
                  </a:cubicBezTo>
                  <a:cubicBezTo>
                    <a:pt x="651" y="1190"/>
                    <a:pt x="673" y="1149"/>
                    <a:pt x="673" y="1112"/>
                  </a:cubicBezTo>
                  <a:cubicBezTo>
                    <a:pt x="673" y="1075"/>
                    <a:pt x="738" y="1086"/>
                    <a:pt x="760" y="1064"/>
                  </a:cubicBezTo>
                  <a:cubicBezTo>
                    <a:pt x="782" y="1042"/>
                    <a:pt x="799" y="1027"/>
                    <a:pt x="847" y="1023"/>
                  </a:cubicBezTo>
                  <a:cubicBezTo>
                    <a:pt x="895" y="1019"/>
                    <a:pt x="882" y="990"/>
                    <a:pt x="922" y="953"/>
                  </a:cubicBezTo>
                  <a:cubicBezTo>
                    <a:pt x="961" y="916"/>
                    <a:pt x="952" y="945"/>
                    <a:pt x="970" y="979"/>
                  </a:cubicBezTo>
                  <a:cubicBezTo>
                    <a:pt x="987" y="1012"/>
                    <a:pt x="1018" y="1012"/>
                    <a:pt x="1035" y="1001"/>
                  </a:cubicBezTo>
                  <a:cubicBezTo>
                    <a:pt x="1053" y="990"/>
                    <a:pt x="1061" y="1005"/>
                    <a:pt x="1088" y="1030"/>
                  </a:cubicBezTo>
                  <a:cubicBezTo>
                    <a:pt x="1114" y="1056"/>
                    <a:pt x="1114" y="1019"/>
                    <a:pt x="1144" y="1012"/>
                  </a:cubicBezTo>
                  <a:cubicBezTo>
                    <a:pt x="1175" y="1005"/>
                    <a:pt x="1162" y="982"/>
                    <a:pt x="1171" y="956"/>
                  </a:cubicBezTo>
                  <a:cubicBezTo>
                    <a:pt x="1179" y="930"/>
                    <a:pt x="1219" y="923"/>
                    <a:pt x="1249" y="942"/>
                  </a:cubicBezTo>
                  <a:cubicBezTo>
                    <a:pt x="1280" y="960"/>
                    <a:pt x="1293" y="953"/>
                    <a:pt x="1302" y="927"/>
                  </a:cubicBezTo>
                  <a:cubicBezTo>
                    <a:pt x="1310" y="901"/>
                    <a:pt x="1328" y="916"/>
                    <a:pt x="1372" y="916"/>
                  </a:cubicBezTo>
                  <a:cubicBezTo>
                    <a:pt x="1415" y="916"/>
                    <a:pt x="1372" y="890"/>
                    <a:pt x="1372" y="860"/>
                  </a:cubicBezTo>
                  <a:cubicBezTo>
                    <a:pt x="1372" y="830"/>
                    <a:pt x="1420" y="834"/>
                    <a:pt x="1437" y="849"/>
                  </a:cubicBezTo>
                  <a:cubicBezTo>
                    <a:pt x="1455" y="864"/>
                    <a:pt x="1468" y="853"/>
                    <a:pt x="1489" y="819"/>
                  </a:cubicBezTo>
                  <a:cubicBezTo>
                    <a:pt x="1511" y="786"/>
                    <a:pt x="1494" y="756"/>
                    <a:pt x="1485" y="745"/>
                  </a:cubicBezTo>
                  <a:cubicBezTo>
                    <a:pt x="1476" y="734"/>
                    <a:pt x="1450" y="693"/>
                    <a:pt x="1468" y="671"/>
                  </a:cubicBezTo>
                  <a:cubicBezTo>
                    <a:pt x="1485" y="649"/>
                    <a:pt x="1494" y="656"/>
                    <a:pt x="1481" y="638"/>
                  </a:cubicBezTo>
                  <a:cubicBezTo>
                    <a:pt x="1468" y="619"/>
                    <a:pt x="1450" y="604"/>
                    <a:pt x="1472" y="593"/>
                  </a:cubicBezTo>
                  <a:cubicBezTo>
                    <a:pt x="1494" y="582"/>
                    <a:pt x="1489" y="571"/>
                    <a:pt x="1485" y="526"/>
                  </a:cubicBezTo>
                  <a:cubicBezTo>
                    <a:pt x="1481" y="482"/>
                    <a:pt x="1437" y="519"/>
                    <a:pt x="1393" y="512"/>
                  </a:cubicBezTo>
                  <a:cubicBezTo>
                    <a:pt x="1350" y="504"/>
                    <a:pt x="1363" y="549"/>
                    <a:pt x="1323" y="534"/>
                  </a:cubicBezTo>
                  <a:cubicBezTo>
                    <a:pt x="1284" y="519"/>
                    <a:pt x="1319" y="512"/>
                    <a:pt x="1341" y="486"/>
                  </a:cubicBezTo>
                  <a:cubicBezTo>
                    <a:pt x="1363" y="460"/>
                    <a:pt x="1415" y="426"/>
                    <a:pt x="1450" y="419"/>
                  </a:cubicBezTo>
                  <a:cubicBezTo>
                    <a:pt x="1485" y="411"/>
                    <a:pt x="1459" y="378"/>
                    <a:pt x="1437" y="345"/>
                  </a:cubicBezTo>
                  <a:cubicBezTo>
                    <a:pt x="1415" y="311"/>
                    <a:pt x="1411" y="300"/>
                    <a:pt x="1424" y="263"/>
                  </a:cubicBezTo>
                  <a:cubicBezTo>
                    <a:pt x="1437" y="226"/>
                    <a:pt x="1428" y="230"/>
                    <a:pt x="1402" y="200"/>
                  </a:cubicBezTo>
                  <a:cubicBezTo>
                    <a:pt x="1401" y="199"/>
                    <a:pt x="1401" y="199"/>
                    <a:pt x="1400" y="198"/>
                  </a:cubicBezTo>
                  <a:cubicBezTo>
                    <a:pt x="1384" y="208"/>
                    <a:pt x="1373" y="217"/>
                    <a:pt x="1352" y="222"/>
                  </a:cubicBezTo>
                  <a:cubicBezTo>
                    <a:pt x="1319" y="232"/>
                    <a:pt x="1317" y="235"/>
                    <a:pt x="1275" y="219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" name="Freeform 19"/>
            <p:cNvSpPr>
              <a:spLocks/>
            </p:cNvSpPr>
            <p:nvPr/>
          </p:nvSpPr>
          <p:spPr bwMode="auto">
            <a:xfrm>
              <a:off x="2330" y="2463"/>
              <a:ext cx="1424" cy="954"/>
            </a:xfrm>
            <a:custGeom>
              <a:avLst/>
              <a:gdLst>
                <a:gd name="T0" fmla="*/ 3008 w 3074"/>
                <a:gd name="T1" fmla="*/ 534 h 2060"/>
                <a:gd name="T2" fmla="*/ 2766 w 3074"/>
                <a:gd name="T3" fmla="*/ 507 h 2060"/>
                <a:gd name="T4" fmla="*/ 2572 w 3074"/>
                <a:gd name="T5" fmla="*/ 454 h 2060"/>
                <a:gd name="T6" fmla="*/ 2399 w 3074"/>
                <a:gd name="T7" fmla="*/ 412 h 2060"/>
                <a:gd name="T8" fmla="*/ 2274 w 3074"/>
                <a:gd name="T9" fmla="*/ 354 h 2060"/>
                <a:gd name="T10" fmla="*/ 2007 w 3074"/>
                <a:gd name="T11" fmla="*/ 313 h 2060"/>
                <a:gd name="T12" fmla="*/ 1797 w 3074"/>
                <a:gd name="T13" fmla="*/ 402 h 2060"/>
                <a:gd name="T14" fmla="*/ 1646 w 3074"/>
                <a:gd name="T15" fmla="*/ 276 h 2060"/>
                <a:gd name="T16" fmla="*/ 1524 w 3074"/>
                <a:gd name="T17" fmla="*/ 248 h 2060"/>
                <a:gd name="T18" fmla="*/ 1413 w 3074"/>
                <a:gd name="T19" fmla="*/ 129 h 2060"/>
                <a:gd name="T20" fmla="*/ 1264 w 3074"/>
                <a:gd name="T21" fmla="*/ 22 h 2060"/>
                <a:gd name="T22" fmla="*/ 1179 w 3074"/>
                <a:gd name="T23" fmla="*/ 136 h 2060"/>
                <a:gd name="T24" fmla="*/ 1148 w 3074"/>
                <a:gd name="T25" fmla="*/ 292 h 2060"/>
                <a:gd name="T26" fmla="*/ 934 w 3074"/>
                <a:gd name="T27" fmla="*/ 244 h 2060"/>
                <a:gd name="T28" fmla="*/ 698 w 3074"/>
                <a:gd name="T29" fmla="*/ 374 h 2060"/>
                <a:gd name="T30" fmla="*/ 463 w 3074"/>
                <a:gd name="T31" fmla="*/ 267 h 2060"/>
                <a:gd name="T32" fmla="*/ 235 w 3074"/>
                <a:gd name="T33" fmla="*/ 222 h 2060"/>
                <a:gd name="T34" fmla="*/ 48 w 3074"/>
                <a:gd name="T35" fmla="*/ 352 h 2060"/>
                <a:gd name="T36" fmla="*/ 200 w 3074"/>
                <a:gd name="T37" fmla="*/ 467 h 2060"/>
                <a:gd name="T38" fmla="*/ 345 w 3074"/>
                <a:gd name="T39" fmla="*/ 734 h 2060"/>
                <a:gd name="T40" fmla="*/ 371 w 3074"/>
                <a:gd name="T41" fmla="*/ 934 h 2060"/>
                <a:gd name="T42" fmla="*/ 386 w 3074"/>
                <a:gd name="T43" fmla="*/ 1233 h 2060"/>
                <a:gd name="T44" fmla="*/ 480 w 3074"/>
                <a:gd name="T45" fmla="*/ 1501 h 2060"/>
                <a:gd name="T46" fmla="*/ 624 w 3074"/>
                <a:gd name="T47" fmla="*/ 1475 h 2060"/>
                <a:gd name="T48" fmla="*/ 886 w 3074"/>
                <a:gd name="T49" fmla="*/ 1760 h 2060"/>
                <a:gd name="T50" fmla="*/ 1004 w 3074"/>
                <a:gd name="T51" fmla="*/ 2012 h 2060"/>
                <a:gd name="T52" fmla="*/ 1271 w 3074"/>
                <a:gd name="T53" fmla="*/ 2009 h 2060"/>
                <a:gd name="T54" fmla="*/ 1332 w 3074"/>
                <a:gd name="T55" fmla="*/ 1782 h 2060"/>
                <a:gd name="T56" fmla="*/ 1463 w 3074"/>
                <a:gd name="T57" fmla="*/ 1549 h 2060"/>
                <a:gd name="T58" fmla="*/ 1655 w 3074"/>
                <a:gd name="T59" fmla="*/ 1397 h 2060"/>
                <a:gd name="T60" fmla="*/ 1694 w 3074"/>
                <a:gd name="T61" fmla="*/ 1549 h 2060"/>
                <a:gd name="T62" fmla="*/ 1904 w 3074"/>
                <a:gd name="T63" fmla="*/ 1545 h 2060"/>
                <a:gd name="T64" fmla="*/ 1948 w 3074"/>
                <a:gd name="T65" fmla="*/ 1618 h 2060"/>
                <a:gd name="T66" fmla="*/ 2083 w 3074"/>
                <a:gd name="T67" fmla="*/ 1608 h 2060"/>
                <a:gd name="T68" fmla="*/ 2155 w 3074"/>
                <a:gd name="T69" fmla="*/ 1536 h 2060"/>
                <a:gd name="T70" fmla="*/ 2011 w 3074"/>
                <a:gd name="T71" fmla="*/ 1410 h 2060"/>
                <a:gd name="T72" fmla="*/ 2168 w 3074"/>
                <a:gd name="T73" fmla="*/ 1406 h 2060"/>
                <a:gd name="T74" fmla="*/ 2391 w 3074"/>
                <a:gd name="T75" fmla="*/ 1308 h 2060"/>
                <a:gd name="T76" fmla="*/ 2476 w 3074"/>
                <a:gd name="T77" fmla="*/ 1225 h 2060"/>
                <a:gd name="T78" fmla="*/ 2634 w 3074"/>
                <a:gd name="T79" fmla="*/ 1251 h 2060"/>
                <a:gd name="T80" fmla="*/ 2682 w 3074"/>
                <a:gd name="T81" fmla="*/ 1347 h 2060"/>
                <a:gd name="T82" fmla="*/ 2863 w 3074"/>
                <a:gd name="T83" fmla="*/ 1441 h 2060"/>
                <a:gd name="T84" fmla="*/ 2891 w 3074"/>
                <a:gd name="T85" fmla="*/ 1230 h 2060"/>
                <a:gd name="T86" fmla="*/ 2785 w 3074"/>
                <a:gd name="T87" fmla="*/ 1126 h 2060"/>
                <a:gd name="T88" fmla="*/ 2697 w 3074"/>
                <a:gd name="T89" fmla="*/ 982 h 2060"/>
                <a:gd name="T90" fmla="*/ 2720 w 3074"/>
                <a:gd name="T91" fmla="*/ 873 h 2060"/>
                <a:gd name="T92" fmla="*/ 2946 w 3074"/>
                <a:gd name="T93" fmla="*/ 821 h 2060"/>
                <a:gd name="T94" fmla="*/ 3057 w 3074"/>
                <a:gd name="T95" fmla="*/ 643 h 2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074" h="2060">
                  <a:moveTo>
                    <a:pt x="3057" y="643"/>
                  </a:moveTo>
                  <a:cubicBezTo>
                    <a:pt x="3041" y="612"/>
                    <a:pt x="3008" y="604"/>
                    <a:pt x="3011" y="584"/>
                  </a:cubicBezTo>
                  <a:cubicBezTo>
                    <a:pt x="3015" y="565"/>
                    <a:pt x="3038" y="532"/>
                    <a:pt x="3008" y="534"/>
                  </a:cubicBezTo>
                  <a:cubicBezTo>
                    <a:pt x="2979" y="537"/>
                    <a:pt x="2936" y="520"/>
                    <a:pt x="2900" y="537"/>
                  </a:cubicBezTo>
                  <a:cubicBezTo>
                    <a:pt x="2864" y="554"/>
                    <a:pt x="2848" y="570"/>
                    <a:pt x="2818" y="543"/>
                  </a:cubicBezTo>
                  <a:cubicBezTo>
                    <a:pt x="2789" y="515"/>
                    <a:pt x="2802" y="504"/>
                    <a:pt x="2766" y="507"/>
                  </a:cubicBezTo>
                  <a:cubicBezTo>
                    <a:pt x="2730" y="509"/>
                    <a:pt x="2717" y="507"/>
                    <a:pt x="2700" y="490"/>
                  </a:cubicBezTo>
                  <a:cubicBezTo>
                    <a:pt x="2684" y="473"/>
                    <a:pt x="2661" y="454"/>
                    <a:pt x="2638" y="454"/>
                  </a:cubicBezTo>
                  <a:cubicBezTo>
                    <a:pt x="2615" y="454"/>
                    <a:pt x="2599" y="434"/>
                    <a:pt x="2572" y="454"/>
                  </a:cubicBezTo>
                  <a:cubicBezTo>
                    <a:pt x="2546" y="473"/>
                    <a:pt x="2523" y="490"/>
                    <a:pt x="2497" y="468"/>
                  </a:cubicBezTo>
                  <a:cubicBezTo>
                    <a:pt x="2471" y="445"/>
                    <a:pt x="2451" y="418"/>
                    <a:pt x="2435" y="423"/>
                  </a:cubicBezTo>
                  <a:cubicBezTo>
                    <a:pt x="2418" y="429"/>
                    <a:pt x="2409" y="429"/>
                    <a:pt x="2399" y="412"/>
                  </a:cubicBezTo>
                  <a:cubicBezTo>
                    <a:pt x="2389" y="395"/>
                    <a:pt x="2382" y="393"/>
                    <a:pt x="2363" y="401"/>
                  </a:cubicBezTo>
                  <a:cubicBezTo>
                    <a:pt x="2343" y="409"/>
                    <a:pt x="2327" y="420"/>
                    <a:pt x="2310" y="401"/>
                  </a:cubicBezTo>
                  <a:cubicBezTo>
                    <a:pt x="2294" y="381"/>
                    <a:pt x="2317" y="351"/>
                    <a:pt x="2274" y="354"/>
                  </a:cubicBezTo>
                  <a:cubicBezTo>
                    <a:pt x="2232" y="356"/>
                    <a:pt x="2210" y="348"/>
                    <a:pt x="2175" y="367"/>
                  </a:cubicBezTo>
                  <a:cubicBezTo>
                    <a:pt x="2140" y="385"/>
                    <a:pt x="2098" y="409"/>
                    <a:pt x="2070" y="378"/>
                  </a:cubicBezTo>
                  <a:cubicBezTo>
                    <a:pt x="2042" y="346"/>
                    <a:pt x="2039" y="313"/>
                    <a:pt x="2007" y="313"/>
                  </a:cubicBezTo>
                  <a:cubicBezTo>
                    <a:pt x="1974" y="313"/>
                    <a:pt x="1917" y="304"/>
                    <a:pt x="1915" y="320"/>
                  </a:cubicBezTo>
                  <a:cubicBezTo>
                    <a:pt x="1913" y="337"/>
                    <a:pt x="1935" y="376"/>
                    <a:pt x="1884" y="393"/>
                  </a:cubicBezTo>
                  <a:cubicBezTo>
                    <a:pt x="1834" y="409"/>
                    <a:pt x="1845" y="420"/>
                    <a:pt x="1797" y="402"/>
                  </a:cubicBezTo>
                  <a:cubicBezTo>
                    <a:pt x="1749" y="383"/>
                    <a:pt x="1747" y="402"/>
                    <a:pt x="1721" y="385"/>
                  </a:cubicBezTo>
                  <a:cubicBezTo>
                    <a:pt x="1694" y="368"/>
                    <a:pt x="1673" y="365"/>
                    <a:pt x="1670" y="344"/>
                  </a:cubicBezTo>
                  <a:cubicBezTo>
                    <a:pt x="1668" y="324"/>
                    <a:pt x="1673" y="296"/>
                    <a:pt x="1646" y="276"/>
                  </a:cubicBezTo>
                  <a:cubicBezTo>
                    <a:pt x="1620" y="255"/>
                    <a:pt x="1653" y="242"/>
                    <a:pt x="1629" y="228"/>
                  </a:cubicBezTo>
                  <a:cubicBezTo>
                    <a:pt x="1605" y="213"/>
                    <a:pt x="1587" y="222"/>
                    <a:pt x="1574" y="239"/>
                  </a:cubicBezTo>
                  <a:cubicBezTo>
                    <a:pt x="1561" y="255"/>
                    <a:pt x="1541" y="261"/>
                    <a:pt x="1524" y="248"/>
                  </a:cubicBezTo>
                  <a:cubicBezTo>
                    <a:pt x="1507" y="235"/>
                    <a:pt x="1496" y="218"/>
                    <a:pt x="1474" y="202"/>
                  </a:cubicBezTo>
                  <a:cubicBezTo>
                    <a:pt x="1452" y="185"/>
                    <a:pt x="1439" y="187"/>
                    <a:pt x="1437" y="172"/>
                  </a:cubicBezTo>
                  <a:cubicBezTo>
                    <a:pt x="1434" y="157"/>
                    <a:pt x="1448" y="133"/>
                    <a:pt x="1413" y="129"/>
                  </a:cubicBezTo>
                  <a:cubicBezTo>
                    <a:pt x="1378" y="126"/>
                    <a:pt x="1367" y="128"/>
                    <a:pt x="1367" y="105"/>
                  </a:cubicBezTo>
                  <a:cubicBezTo>
                    <a:pt x="1367" y="83"/>
                    <a:pt x="1378" y="20"/>
                    <a:pt x="1345" y="14"/>
                  </a:cubicBezTo>
                  <a:cubicBezTo>
                    <a:pt x="1312" y="9"/>
                    <a:pt x="1314" y="0"/>
                    <a:pt x="1264" y="22"/>
                  </a:cubicBezTo>
                  <a:cubicBezTo>
                    <a:pt x="1214" y="44"/>
                    <a:pt x="1214" y="50"/>
                    <a:pt x="1194" y="50"/>
                  </a:cubicBezTo>
                  <a:cubicBezTo>
                    <a:pt x="1175" y="50"/>
                    <a:pt x="1142" y="59"/>
                    <a:pt x="1146" y="79"/>
                  </a:cubicBezTo>
                  <a:cubicBezTo>
                    <a:pt x="1149" y="95"/>
                    <a:pt x="1172" y="115"/>
                    <a:pt x="1179" y="136"/>
                  </a:cubicBezTo>
                  <a:cubicBezTo>
                    <a:pt x="1196" y="137"/>
                    <a:pt x="1207" y="142"/>
                    <a:pt x="1210" y="166"/>
                  </a:cubicBezTo>
                  <a:cubicBezTo>
                    <a:pt x="1214" y="211"/>
                    <a:pt x="1196" y="226"/>
                    <a:pt x="1196" y="255"/>
                  </a:cubicBezTo>
                  <a:cubicBezTo>
                    <a:pt x="1196" y="285"/>
                    <a:pt x="1166" y="318"/>
                    <a:pt x="1148" y="292"/>
                  </a:cubicBezTo>
                  <a:cubicBezTo>
                    <a:pt x="1131" y="267"/>
                    <a:pt x="1113" y="233"/>
                    <a:pt x="1087" y="263"/>
                  </a:cubicBezTo>
                  <a:cubicBezTo>
                    <a:pt x="1061" y="292"/>
                    <a:pt x="1030" y="318"/>
                    <a:pt x="1004" y="285"/>
                  </a:cubicBezTo>
                  <a:cubicBezTo>
                    <a:pt x="978" y="252"/>
                    <a:pt x="965" y="222"/>
                    <a:pt x="934" y="244"/>
                  </a:cubicBezTo>
                  <a:cubicBezTo>
                    <a:pt x="904" y="267"/>
                    <a:pt x="860" y="292"/>
                    <a:pt x="860" y="322"/>
                  </a:cubicBezTo>
                  <a:cubicBezTo>
                    <a:pt x="860" y="352"/>
                    <a:pt x="878" y="404"/>
                    <a:pt x="825" y="404"/>
                  </a:cubicBezTo>
                  <a:cubicBezTo>
                    <a:pt x="773" y="404"/>
                    <a:pt x="729" y="407"/>
                    <a:pt x="698" y="374"/>
                  </a:cubicBezTo>
                  <a:cubicBezTo>
                    <a:pt x="668" y="341"/>
                    <a:pt x="624" y="304"/>
                    <a:pt x="611" y="274"/>
                  </a:cubicBezTo>
                  <a:cubicBezTo>
                    <a:pt x="598" y="244"/>
                    <a:pt x="576" y="215"/>
                    <a:pt x="546" y="233"/>
                  </a:cubicBezTo>
                  <a:cubicBezTo>
                    <a:pt x="515" y="252"/>
                    <a:pt x="493" y="292"/>
                    <a:pt x="463" y="267"/>
                  </a:cubicBezTo>
                  <a:cubicBezTo>
                    <a:pt x="432" y="241"/>
                    <a:pt x="414" y="259"/>
                    <a:pt x="388" y="233"/>
                  </a:cubicBezTo>
                  <a:cubicBezTo>
                    <a:pt x="362" y="207"/>
                    <a:pt x="345" y="189"/>
                    <a:pt x="323" y="207"/>
                  </a:cubicBezTo>
                  <a:cubicBezTo>
                    <a:pt x="301" y="226"/>
                    <a:pt x="257" y="222"/>
                    <a:pt x="235" y="222"/>
                  </a:cubicBezTo>
                  <a:cubicBezTo>
                    <a:pt x="214" y="222"/>
                    <a:pt x="157" y="204"/>
                    <a:pt x="117" y="222"/>
                  </a:cubicBezTo>
                  <a:cubicBezTo>
                    <a:pt x="78" y="241"/>
                    <a:pt x="65" y="252"/>
                    <a:pt x="52" y="267"/>
                  </a:cubicBezTo>
                  <a:cubicBezTo>
                    <a:pt x="39" y="281"/>
                    <a:pt x="74" y="341"/>
                    <a:pt x="48" y="352"/>
                  </a:cubicBezTo>
                  <a:cubicBezTo>
                    <a:pt x="21" y="363"/>
                    <a:pt x="0" y="381"/>
                    <a:pt x="34" y="389"/>
                  </a:cubicBezTo>
                  <a:cubicBezTo>
                    <a:pt x="69" y="396"/>
                    <a:pt x="109" y="426"/>
                    <a:pt x="135" y="430"/>
                  </a:cubicBezTo>
                  <a:cubicBezTo>
                    <a:pt x="161" y="433"/>
                    <a:pt x="192" y="418"/>
                    <a:pt x="200" y="467"/>
                  </a:cubicBezTo>
                  <a:cubicBezTo>
                    <a:pt x="209" y="515"/>
                    <a:pt x="253" y="530"/>
                    <a:pt x="257" y="570"/>
                  </a:cubicBezTo>
                  <a:cubicBezTo>
                    <a:pt x="262" y="611"/>
                    <a:pt x="266" y="626"/>
                    <a:pt x="297" y="652"/>
                  </a:cubicBezTo>
                  <a:cubicBezTo>
                    <a:pt x="327" y="678"/>
                    <a:pt x="393" y="722"/>
                    <a:pt x="345" y="734"/>
                  </a:cubicBezTo>
                  <a:cubicBezTo>
                    <a:pt x="297" y="745"/>
                    <a:pt x="262" y="737"/>
                    <a:pt x="283" y="767"/>
                  </a:cubicBezTo>
                  <a:cubicBezTo>
                    <a:pt x="305" y="797"/>
                    <a:pt x="340" y="804"/>
                    <a:pt x="345" y="834"/>
                  </a:cubicBezTo>
                  <a:cubicBezTo>
                    <a:pt x="349" y="863"/>
                    <a:pt x="366" y="893"/>
                    <a:pt x="371" y="934"/>
                  </a:cubicBezTo>
                  <a:cubicBezTo>
                    <a:pt x="375" y="974"/>
                    <a:pt x="371" y="986"/>
                    <a:pt x="375" y="1023"/>
                  </a:cubicBezTo>
                  <a:cubicBezTo>
                    <a:pt x="380" y="1060"/>
                    <a:pt x="362" y="1138"/>
                    <a:pt x="371" y="1171"/>
                  </a:cubicBezTo>
                  <a:cubicBezTo>
                    <a:pt x="379" y="1201"/>
                    <a:pt x="405" y="1216"/>
                    <a:pt x="386" y="1233"/>
                  </a:cubicBezTo>
                  <a:cubicBezTo>
                    <a:pt x="406" y="1256"/>
                    <a:pt x="406" y="1276"/>
                    <a:pt x="406" y="1301"/>
                  </a:cubicBezTo>
                  <a:cubicBezTo>
                    <a:pt x="406" y="1338"/>
                    <a:pt x="401" y="1382"/>
                    <a:pt x="410" y="1456"/>
                  </a:cubicBezTo>
                  <a:cubicBezTo>
                    <a:pt x="419" y="1530"/>
                    <a:pt x="454" y="1512"/>
                    <a:pt x="480" y="1501"/>
                  </a:cubicBezTo>
                  <a:cubicBezTo>
                    <a:pt x="506" y="1490"/>
                    <a:pt x="537" y="1479"/>
                    <a:pt x="546" y="1456"/>
                  </a:cubicBezTo>
                  <a:cubicBezTo>
                    <a:pt x="554" y="1434"/>
                    <a:pt x="585" y="1412"/>
                    <a:pt x="611" y="1423"/>
                  </a:cubicBezTo>
                  <a:cubicBezTo>
                    <a:pt x="637" y="1434"/>
                    <a:pt x="650" y="1449"/>
                    <a:pt x="624" y="1475"/>
                  </a:cubicBezTo>
                  <a:cubicBezTo>
                    <a:pt x="598" y="1501"/>
                    <a:pt x="615" y="1519"/>
                    <a:pt x="642" y="1564"/>
                  </a:cubicBezTo>
                  <a:cubicBezTo>
                    <a:pt x="668" y="1608"/>
                    <a:pt x="755" y="1601"/>
                    <a:pt x="786" y="1630"/>
                  </a:cubicBezTo>
                  <a:cubicBezTo>
                    <a:pt x="816" y="1660"/>
                    <a:pt x="873" y="1719"/>
                    <a:pt x="886" y="1760"/>
                  </a:cubicBezTo>
                  <a:cubicBezTo>
                    <a:pt x="899" y="1801"/>
                    <a:pt x="891" y="1816"/>
                    <a:pt x="934" y="1845"/>
                  </a:cubicBezTo>
                  <a:cubicBezTo>
                    <a:pt x="978" y="1875"/>
                    <a:pt x="934" y="1920"/>
                    <a:pt x="974" y="1942"/>
                  </a:cubicBezTo>
                  <a:cubicBezTo>
                    <a:pt x="1013" y="1964"/>
                    <a:pt x="1000" y="2001"/>
                    <a:pt x="1004" y="2012"/>
                  </a:cubicBezTo>
                  <a:cubicBezTo>
                    <a:pt x="1009" y="2023"/>
                    <a:pt x="1057" y="2053"/>
                    <a:pt x="1096" y="2057"/>
                  </a:cubicBezTo>
                  <a:cubicBezTo>
                    <a:pt x="1135" y="2060"/>
                    <a:pt x="1183" y="2027"/>
                    <a:pt x="1218" y="1990"/>
                  </a:cubicBezTo>
                  <a:cubicBezTo>
                    <a:pt x="1253" y="1953"/>
                    <a:pt x="1266" y="1997"/>
                    <a:pt x="1271" y="2009"/>
                  </a:cubicBezTo>
                  <a:cubicBezTo>
                    <a:pt x="1275" y="2020"/>
                    <a:pt x="1319" y="2012"/>
                    <a:pt x="1349" y="1986"/>
                  </a:cubicBezTo>
                  <a:cubicBezTo>
                    <a:pt x="1380" y="1960"/>
                    <a:pt x="1375" y="1908"/>
                    <a:pt x="1349" y="1868"/>
                  </a:cubicBezTo>
                  <a:cubicBezTo>
                    <a:pt x="1323" y="1827"/>
                    <a:pt x="1336" y="1816"/>
                    <a:pt x="1332" y="1782"/>
                  </a:cubicBezTo>
                  <a:cubicBezTo>
                    <a:pt x="1327" y="1749"/>
                    <a:pt x="1336" y="1727"/>
                    <a:pt x="1375" y="1723"/>
                  </a:cubicBezTo>
                  <a:cubicBezTo>
                    <a:pt x="1415" y="1719"/>
                    <a:pt x="1428" y="1664"/>
                    <a:pt x="1454" y="1638"/>
                  </a:cubicBezTo>
                  <a:cubicBezTo>
                    <a:pt x="1480" y="1612"/>
                    <a:pt x="1485" y="1575"/>
                    <a:pt x="1463" y="1549"/>
                  </a:cubicBezTo>
                  <a:cubicBezTo>
                    <a:pt x="1441" y="1523"/>
                    <a:pt x="1511" y="1504"/>
                    <a:pt x="1546" y="1497"/>
                  </a:cubicBezTo>
                  <a:cubicBezTo>
                    <a:pt x="1581" y="1490"/>
                    <a:pt x="1594" y="1464"/>
                    <a:pt x="1555" y="1438"/>
                  </a:cubicBezTo>
                  <a:cubicBezTo>
                    <a:pt x="1515" y="1412"/>
                    <a:pt x="1611" y="1401"/>
                    <a:pt x="1655" y="1397"/>
                  </a:cubicBezTo>
                  <a:cubicBezTo>
                    <a:pt x="1699" y="1393"/>
                    <a:pt x="1677" y="1423"/>
                    <a:pt x="1668" y="1434"/>
                  </a:cubicBezTo>
                  <a:cubicBezTo>
                    <a:pt x="1659" y="1445"/>
                    <a:pt x="1659" y="1464"/>
                    <a:pt x="1681" y="1482"/>
                  </a:cubicBezTo>
                  <a:cubicBezTo>
                    <a:pt x="1703" y="1501"/>
                    <a:pt x="1716" y="1530"/>
                    <a:pt x="1694" y="1549"/>
                  </a:cubicBezTo>
                  <a:cubicBezTo>
                    <a:pt x="1673" y="1567"/>
                    <a:pt x="1716" y="1586"/>
                    <a:pt x="1756" y="1593"/>
                  </a:cubicBezTo>
                  <a:cubicBezTo>
                    <a:pt x="1795" y="1601"/>
                    <a:pt x="1834" y="1567"/>
                    <a:pt x="1847" y="1545"/>
                  </a:cubicBezTo>
                  <a:cubicBezTo>
                    <a:pt x="1860" y="1523"/>
                    <a:pt x="1887" y="1538"/>
                    <a:pt x="1904" y="1545"/>
                  </a:cubicBezTo>
                  <a:cubicBezTo>
                    <a:pt x="1922" y="1553"/>
                    <a:pt x="1935" y="1582"/>
                    <a:pt x="1930" y="1612"/>
                  </a:cubicBezTo>
                  <a:cubicBezTo>
                    <a:pt x="1930" y="1614"/>
                    <a:pt x="1930" y="1615"/>
                    <a:pt x="1930" y="1617"/>
                  </a:cubicBezTo>
                  <a:cubicBezTo>
                    <a:pt x="1937" y="1620"/>
                    <a:pt x="1944" y="1621"/>
                    <a:pt x="1948" y="1618"/>
                  </a:cubicBezTo>
                  <a:cubicBezTo>
                    <a:pt x="1961" y="1606"/>
                    <a:pt x="1967" y="1597"/>
                    <a:pt x="1980" y="1612"/>
                  </a:cubicBezTo>
                  <a:cubicBezTo>
                    <a:pt x="1994" y="1627"/>
                    <a:pt x="2007" y="1640"/>
                    <a:pt x="2033" y="1629"/>
                  </a:cubicBezTo>
                  <a:cubicBezTo>
                    <a:pt x="2059" y="1618"/>
                    <a:pt x="2059" y="1608"/>
                    <a:pt x="2083" y="1608"/>
                  </a:cubicBezTo>
                  <a:cubicBezTo>
                    <a:pt x="2107" y="1608"/>
                    <a:pt x="2120" y="1599"/>
                    <a:pt x="2146" y="1601"/>
                  </a:cubicBezTo>
                  <a:cubicBezTo>
                    <a:pt x="2173" y="1603"/>
                    <a:pt x="2201" y="1601"/>
                    <a:pt x="2186" y="1580"/>
                  </a:cubicBezTo>
                  <a:cubicBezTo>
                    <a:pt x="2171" y="1560"/>
                    <a:pt x="2157" y="1553"/>
                    <a:pt x="2155" y="1536"/>
                  </a:cubicBezTo>
                  <a:cubicBezTo>
                    <a:pt x="2153" y="1519"/>
                    <a:pt x="2173" y="1506"/>
                    <a:pt x="2131" y="1506"/>
                  </a:cubicBezTo>
                  <a:cubicBezTo>
                    <a:pt x="2090" y="1506"/>
                    <a:pt x="2068" y="1491"/>
                    <a:pt x="2042" y="1473"/>
                  </a:cubicBezTo>
                  <a:cubicBezTo>
                    <a:pt x="2015" y="1454"/>
                    <a:pt x="1994" y="1425"/>
                    <a:pt x="2011" y="1410"/>
                  </a:cubicBezTo>
                  <a:cubicBezTo>
                    <a:pt x="2029" y="1395"/>
                    <a:pt x="2050" y="1399"/>
                    <a:pt x="2066" y="1382"/>
                  </a:cubicBezTo>
                  <a:cubicBezTo>
                    <a:pt x="2081" y="1365"/>
                    <a:pt x="2074" y="1336"/>
                    <a:pt x="2103" y="1358"/>
                  </a:cubicBezTo>
                  <a:cubicBezTo>
                    <a:pt x="2131" y="1380"/>
                    <a:pt x="2138" y="1403"/>
                    <a:pt x="2168" y="1406"/>
                  </a:cubicBezTo>
                  <a:cubicBezTo>
                    <a:pt x="2199" y="1410"/>
                    <a:pt x="2238" y="1423"/>
                    <a:pt x="2267" y="1399"/>
                  </a:cubicBezTo>
                  <a:cubicBezTo>
                    <a:pt x="2295" y="1375"/>
                    <a:pt x="2256" y="1343"/>
                    <a:pt x="2295" y="1338"/>
                  </a:cubicBezTo>
                  <a:cubicBezTo>
                    <a:pt x="2334" y="1332"/>
                    <a:pt x="2358" y="1282"/>
                    <a:pt x="2391" y="1308"/>
                  </a:cubicBezTo>
                  <a:cubicBezTo>
                    <a:pt x="2424" y="1334"/>
                    <a:pt x="2439" y="1332"/>
                    <a:pt x="2452" y="1314"/>
                  </a:cubicBezTo>
                  <a:cubicBezTo>
                    <a:pt x="2465" y="1295"/>
                    <a:pt x="2474" y="1280"/>
                    <a:pt x="2454" y="1262"/>
                  </a:cubicBezTo>
                  <a:cubicBezTo>
                    <a:pt x="2435" y="1243"/>
                    <a:pt x="2450" y="1219"/>
                    <a:pt x="2476" y="1225"/>
                  </a:cubicBezTo>
                  <a:cubicBezTo>
                    <a:pt x="2502" y="1230"/>
                    <a:pt x="2531" y="1236"/>
                    <a:pt x="2535" y="1254"/>
                  </a:cubicBezTo>
                  <a:cubicBezTo>
                    <a:pt x="2540" y="1273"/>
                    <a:pt x="2559" y="1293"/>
                    <a:pt x="2577" y="1273"/>
                  </a:cubicBezTo>
                  <a:cubicBezTo>
                    <a:pt x="2594" y="1252"/>
                    <a:pt x="2605" y="1249"/>
                    <a:pt x="2634" y="1251"/>
                  </a:cubicBezTo>
                  <a:cubicBezTo>
                    <a:pt x="2662" y="1252"/>
                    <a:pt x="2671" y="1269"/>
                    <a:pt x="2671" y="1284"/>
                  </a:cubicBezTo>
                  <a:cubicBezTo>
                    <a:pt x="2671" y="1299"/>
                    <a:pt x="2695" y="1306"/>
                    <a:pt x="2684" y="1323"/>
                  </a:cubicBezTo>
                  <a:cubicBezTo>
                    <a:pt x="2673" y="1340"/>
                    <a:pt x="2658" y="1343"/>
                    <a:pt x="2682" y="1347"/>
                  </a:cubicBezTo>
                  <a:cubicBezTo>
                    <a:pt x="2706" y="1351"/>
                    <a:pt x="2725" y="1353"/>
                    <a:pt x="2738" y="1377"/>
                  </a:cubicBezTo>
                  <a:cubicBezTo>
                    <a:pt x="2751" y="1401"/>
                    <a:pt x="2745" y="1421"/>
                    <a:pt x="2786" y="1438"/>
                  </a:cubicBezTo>
                  <a:cubicBezTo>
                    <a:pt x="2828" y="1454"/>
                    <a:pt x="2830" y="1451"/>
                    <a:pt x="2863" y="1441"/>
                  </a:cubicBezTo>
                  <a:cubicBezTo>
                    <a:pt x="2884" y="1436"/>
                    <a:pt x="2895" y="1427"/>
                    <a:pt x="2911" y="1417"/>
                  </a:cubicBezTo>
                  <a:cubicBezTo>
                    <a:pt x="2890" y="1389"/>
                    <a:pt x="2934" y="1385"/>
                    <a:pt x="2917" y="1360"/>
                  </a:cubicBezTo>
                  <a:cubicBezTo>
                    <a:pt x="2900" y="1334"/>
                    <a:pt x="2891" y="1282"/>
                    <a:pt x="2891" y="1230"/>
                  </a:cubicBezTo>
                  <a:cubicBezTo>
                    <a:pt x="2891" y="1226"/>
                    <a:pt x="2891" y="1221"/>
                    <a:pt x="2892" y="1217"/>
                  </a:cubicBezTo>
                  <a:cubicBezTo>
                    <a:pt x="2838" y="1185"/>
                    <a:pt x="2838" y="1185"/>
                    <a:pt x="2838" y="1185"/>
                  </a:cubicBezTo>
                  <a:cubicBezTo>
                    <a:pt x="2838" y="1185"/>
                    <a:pt x="2782" y="1157"/>
                    <a:pt x="2785" y="1126"/>
                  </a:cubicBezTo>
                  <a:cubicBezTo>
                    <a:pt x="2789" y="1096"/>
                    <a:pt x="2802" y="1113"/>
                    <a:pt x="2766" y="1093"/>
                  </a:cubicBezTo>
                  <a:cubicBezTo>
                    <a:pt x="2730" y="1074"/>
                    <a:pt x="2730" y="1068"/>
                    <a:pt x="2713" y="1049"/>
                  </a:cubicBezTo>
                  <a:cubicBezTo>
                    <a:pt x="2697" y="1029"/>
                    <a:pt x="2694" y="1004"/>
                    <a:pt x="2697" y="982"/>
                  </a:cubicBezTo>
                  <a:cubicBezTo>
                    <a:pt x="2700" y="960"/>
                    <a:pt x="2723" y="948"/>
                    <a:pt x="2697" y="940"/>
                  </a:cubicBezTo>
                  <a:cubicBezTo>
                    <a:pt x="2671" y="932"/>
                    <a:pt x="2631" y="921"/>
                    <a:pt x="2667" y="898"/>
                  </a:cubicBezTo>
                  <a:cubicBezTo>
                    <a:pt x="2703" y="876"/>
                    <a:pt x="2720" y="873"/>
                    <a:pt x="2720" y="873"/>
                  </a:cubicBezTo>
                  <a:cubicBezTo>
                    <a:pt x="2720" y="873"/>
                    <a:pt x="2736" y="871"/>
                    <a:pt x="2769" y="862"/>
                  </a:cubicBezTo>
                  <a:cubicBezTo>
                    <a:pt x="2802" y="854"/>
                    <a:pt x="2834" y="854"/>
                    <a:pt x="2857" y="854"/>
                  </a:cubicBezTo>
                  <a:cubicBezTo>
                    <a:pt x="2880" y="854"/>
                    <a:pt x="2929" y="840"/>
                    <a:pt x="2946" y="821"/>
                  </a:cubicBezTo>
                  <a:cubicBezTo>
                    <a:pt x="2962" y="801"/>
                    <a:pt x="3005" y="759"/>
                    <a:pt x="3021" y="771"/>
                  </a:cubicBezTo>
                  <a:cubicBezTo>
                    <a:pt x="3038" y="782"/>
                    <a:pt x="3074" y="779"/>
                    <a:pt x="3074" y="743"/>
                  </a:cubicBezTo>
                  <a:cubicBezTo>
                    <a:pt x="3074" y="707"/>
                    <a:pt x="3074" y="673"/>
                    <a:pt x="3057" y="643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" name="Freeform 20"/>
            <p:cNvSpPr>
              <a:spLocks/>
            </p:cNvSpPr>
            <p:nvPr/>
          </p:nvSpPr>
          <p:spPr bwMode="auto">
            <a:xfrm>
              <a:off x="1990" y="1454"/>
              <a:ext cx="1563" cy="1204"/>
            </a:xfrm>
            <a:custGeom>
              <a:avLst/>
              <a:gdLst>
                <a:gd name="T0" fmla="*/ 3326 w 3374"/>
                <a:gd name="T1" fmla="*/ 1582 h 2599"/>
                <a:gd name="T2" fmla="*/ 3022 w 3374"/>
                <a:gd name="T3" fmla="*/ 1461 h 2599"/>
                <a:gd name="T4" fmla="*/ 2905 w 3374"/>
                <a:gd name="T5" fmla="*/ 1423 h 2599"/>
                <a:gd name="T6" fmla="*/ 2850 w 3374"/>
                <a:gd name="T7" fmla="*/ 1556 h 2599"/>
                <a:gd name="T8" fmla="*/ 2957 w 3374"/>
                <a:gd name="T9" fmla="*/ 1714 h 2599"/>
                <a:gd name="T10" fmla="*/ 2863 w 3374"/>
                <a:gd name="T11" fmla="*/ 1817 h 2599"/>
                <a:gd name="T12" fmla="*/ 2804 w 3374"/>
                <a:gd name="T13" fmla="*/ 1882 h 2599"/>
                <a:gd name="T14" fmla="*/ 2651 w 3374"/>
                <a:gd name="T15" fmla="*/ 1793 h 2599"/>
                <a:gd name="T16" fmla="*/ 2573 w 3374"/>
                <a:gd name="T17" fmla="*/ 1593 h 2599"/>
                <a:gd name="T18" fmla="*/ 2448 w 3374"/>
                <a:gd name="T19" fmla="*/ 1424 h 2599"/>
                <a:gd name="T20" fmla="*/ 2411 w 3374"/>
                <a:gd name="T21" fmla="*/ 1352 h 2599"/>
                <a:gd name="T22" fmla="*/ 2179 w 3374"/>
                <a:gd name="T23" fmla="*/ 1252 h 2599"/>
                <a:gd name="T24" fmla="*/ 2267 w 3374"/>
                <a:gd name="T25" fmla="*/ 911 h 2599"/>
                <a:gd name="T26" fmla="*/ 1721 w 3374"/>
                <a:gd name="T27" fmla="*/ 1019 h 2599"/>
                <a:gd name="T28" fmla="*/ 1446 w 3374"/>
                <a:gd name="T29" fmla="*/ 833 h 2599"/>
                <a:gd name="T30" fmla="*/ 1485 w 3374"/>
                <a:gd name="T31" fmla="*/ 615 h 2599"/>
                <a:gd name="T32" fmla="*/ 1148 w 3374"/>
                <a:gd name="T33" fmla="*/ 548 h 2599"/>
                <a:gd name="T34" fmla="*/ 851 w 3374"/>
                <a:gd name="T35" fmla="*/ 363 h 2599"/>
                <a:gd name="T36" fmla="*/ 848 w 3374"/>
                <a:gd name="T37" fmla="*/ 57 h 2599"/>
                <a:gd name="T38" fmla="*/ 661 w 3374"/>
                <a:gd name="T39" fmla="*/ 24 h 2599"/>
                <a:gd name="T40" fmla="*/ 428 w 3374"/>
                <a:gd name="T41" fmla="*/ 233 h 2599"/>
                <a:gd name="T42" fmla="*/ 113 w 3374"/>
                <a:gd name="T43" fmla="*/ 418 h 2599"/>
                <a:gd name="T44" fmla="*/ 26 w 3374"/>
                <a:gd name="T45" fmla="*/ 792 h 2599"/>
                <a:gd name="T46" fmla="*/ 301 w 3374"/>
                <a:gd name="T47" fmla="*/ 907 h 2599"/>
                <a:gd name="T48" fmla="*/ 633 w 3374"/>
                <a:gd name="T49" fmla="*/ 1000 h 2599"/>
                <a:gd name="T50" fmla="*/ 1074 w 3374"/>
                <a:gd name="T51" fmla="*/ 941 h 2599"/>
                <a:gd name="T52" fmla="*/ 1393 w 3374"/>
                <a:gd name="T53" fmla="*/ 1019 h 2599"/>
                <a:gd name="T54" fmla="*/ 1695 w 3374"/>
                <a:gd name="T55" fmla="*/ 1311 h 2599"/>
                <a:gd name="T56" fmla="*/ 1926 w 3374"/>
                <a:gd name="T57" fmla="*/ 1471 h 2599"/>
                <a:gd name="T58" fmla="*/ 2018 w 3374"/>
                <a:gd name="T59" fmla="*/ 1638 h 2599"/>
                <a:gd name="T60" fmla="*/ 1992 w 3374"/>
                <a:gd name="T61" fmla="*/ 1860 h 2599"/>
                <a:gd name="T62" fmla="*/ 1909 w 3374"/>
                <a:gd name="T63" fmla="*/ 1930 h 2599"/>
                <a:gd name="T64" fmla="*/ 1808 w 3374"/>
                <a:gd name="T65" fmla="*/ 2156 h 2599"/>
                <a:gd name="T66" fmla="*/ 1594 w 3374"/>
                <a:gd name="T67" fmla="*/ 2138 h 2599"/>
                <a:gd name="T68" fmla="*/ 1861 w 3374"/>
                <a:gd name="T69" fmla="*/ 2316 h 2599"/>
                <a:gd name="T70" fmla="*/ 1928 w 3374"/>
                <a:gd name="T71" fmla="*/ 2229 h 2599"/>
                <a:gd name="T72" fmla="*/ 2101 w 3374"/>
                <a:gd name="T73" fmla="*/ 2284 h 2599"/>
                <a:gd name="T74" fmla="*/ 2208 w 3374"/>
                <a:gd name="T75" fmla="*/ 2381 h 2599"/>
                <a:gd name="T76" fmla="*/ 2363 w 3374"/>
                <a:gd name="T77" fmla="*/ 2407 h 2599"/>
                <a:gd name="T78" fmla="*/ 2455 w 3374"/>
                <a:gd name="T79" fmla="*/ 2564 h 2599"/>
                <a:gd name="T80" fmla="*/ 2649 w 3374"/>
                <a:gd name="T81" fmla="*/ 2499 h 2599"/>
                <a:gd name="T82" fmla="*/ 2763 w 3374"/>
                <a:gd name="T83" fmla="*/ 2412 h 2599"/>
                <a:gd name="T84" fmla="*/ 2771 w 3374"/>
                <a:gd name="T85" fmla="*/ 2321 h 2599"/>
                <a:gd name="T86" fmla="*/ 2880 w 3374"/>
                <a:gd name="T87" fmla="*/ 2329 h 2599"/>
                <a:gd name="T88" fmla="*/ 2874 w 3374"/>
                <a:gd name="T89" fmla="*/ 2238 h 2599"/>
                <a:gd name="T90" fmla="*/ 2918 w 3374"/>
                <a:gd name="T91" fmla="*/ 2119 h 2599"/>
                <a:gd name="T92" fmla="*/ 2870 w 3374"/>
                <a:gd name="T93" fmla="*/ 2034 h 2599"/>
                <a:gd name="T94" fmla="*/ 2983 w 3374"/>
                <a:gd name="T95" fmla="*/ 1945 h 2599"/>
                <a:gd name="T96" fmla="*/ 3167 w 3374"/>
                <a:gd name="T97" fmla="*/ 1953 h 2599"/>
                <a:gd name="T98" fmla="*/ 3232 w 3374"/>
                <a:gd name="T99" fmla="*/ 1884 h 2599"/>
                <a:gd name="T100" fmla="*/ 3337 w 3374"/>
                <a:gd name="T101" fmla="*/ 1795 h 2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74" h="2599">
                  <a:moveTo>
                    <a:pt x="3319" y="1723"/>
                  </a:moveTo>
                  <a:cubicBezTo>
                    <a:pt x="3341" y="1695"/>
                    <a:pt x="3374" y="1691"/>
                    <a:pt x="3359" y="1658"/>
                  </a:cubicBezTo>
                  <a:cubicBezTo>
                    <a:pt x="3343" y="1625"/>
                    <a:pt x="3365" y="1593"/>
                    <a:pt x="3326" y="1582"/>
                  </a:cubicBezTo>
                  <a:cubicBezTo>
                    <a:pt x="3287" y="1571"/>
                    <a:pt x="3223" y="1565"/>
                    <a:pt x="3195" y="1541"/>
                  </a:cubicBezTo>
                  <a:cubicBezTo>
                    <a:pt x="3167" y="1517"/>
                    <a:pt x="3164" y="1511"/>
                    <a:pt x="3125" y="1504"/>
                  </a:cubicBezTo>
                  <a:cubicBezTo>
                    <a:pt x="3086" y="1497"/>
                    <a:pt x="3031" y="1487"/>
                    <a:pt x="3022" y="1461"/>
                  </a:cubicBezTo>
                  <a:cubicBezTo>
                    <a:pt x="3017" y="1447"/>
                    <a:pt x="3023" y="1437"/>
                    <a:pt x="3024" y="1426"/>
                  </a:cubicBezTo>
                  <a:cubicBezTo>
                    <a:pt x="3009" y="1428"/>
                    <a:pt x="2990" y="1430"/>
                    <a:pt x="2972" y="1430"/>
                  </a:cubicBezTo>
                  <a:cubicBezTo>
                    <a:pt x="2924" y="1430"/>
                    <a:pt x="2918" y="1437"/>
                    <a:pt x="2905" y="1423"/>
                  </a:cubicBezTo>
                  <a:cubicBezTo>
                    <a:pt x="2891" y="1408"/>
                    <a:pt x="2885" y="1417"/>
                    <a:pt x="2874" y="1432"/>
                  </a:cubicBezTo>
                  <a:cubicBezTo>
                    <a:pt x="2863" y="1447"/>
                    <a:pt x="2870" y="1484"/>
                    <a:pt x="2874" y="1513"/>
                  </a:cubicBezTo>
                  <a:cubicBezTo>
                    <a:pt x="2878" y="1543"/>
                    <a:pt x="2867" y="1543"/>
                    <a:pt x="2850" y="1556"/>
                  </a:cubicBezTo>
                  <a:cubicBezTo>
                    <a:pt x="2832" y="1569"/>
                    <a:pt x="2848" y="1582"/>
                    <a:pt x="2846" y="1628"/>
                  </a:cubicBezTo>
                  <a:cubicBezTo>
                    <a:pt x="2843" y="1675"/>
                    <a:pt x="2887" y="1654"/>
                    <a:pt x="2920" y="1665"/>
                  </a:cubicBezTo>
                  <a:cubicBezTo>
                    <a:pt x="2953" y="1676"/>
                    <a:pt x="2963" y="1695"/>
                    <a:pt x="2957" y="1714"/>
                  </a:cubicBezTo>
                  <a:cubicBezTo>
                    <a:pt x="2950" y="1732"/>
                    <a:pt x="2961" y="1749"/>
                    <a:pt x="2948" y="1778"/>
                  </a:cubicBezTo>
                  <a:cubicBezTo>
                    <a:pt x="2935" y="1808"/>
                    <a:pt x="2902" y="1793"/>
                    <a:pt x="2870" y="1780"/>
                  </a:cubicBezTo>
                  <a:cubicBezTo>
                    <a:pt x="2837" y="1767"/>
                    <a:pt x="2865" y="1808"/>
                    <a:pt x="2863" y="1817"/>
                  </a:cubicBezTo>
                  <a:cubicBezTo>
                    <a:pt x="2861" y="1827"/>
                    <a:pt x="2839" y="1836"/>
                    <a:pt x="2861" y="1849"/>
                  </a:cubicBezTo>
                  <a:cubicBezTo>
                    <a:pt x="2883" y="1862"/>
                    <a:pt x="2867" y="1862"/>
                    <a:pt x="2843" y="1877"/>
                  </a:cubicBezTo>
                  <a:cubicBezTo>
                    <a:pt x="2819" y="1891"/>
                    <a:pt x="2811" y="1895"/>
                    <a:pt x="2804" y="1882"/>
                  </a:cubicBezTo>
                  <a:cubicBezTo>
                    <a:pt x="2797" y="1869"/>
                    <a:pt x="2782" y="1862"/>
                    <a:pt x="2763" y="1862"/>
                  </a:cubicBezTo>
                  <a:cubicBezTo>
                    <a:pt x="2712" y="1867"/>
                    <a:pt x="2710" y="1851"/>
                    <a:pt x="2704" y="1819"/>
                  </a:cubicBezTo>
                  <a:cubicBezTo>
                    <a:pt x="2697" y="1788"/>
                    <a:pt x="2675" y="1793"/>
                    <a:pt x="2651" y="1793"/>
                  </a:cubicBezTo>
                  <a:cubicBezTo>
                    <a:pt x="2627" y="1793"/>
                    <a:pt x="2629" y="1784"/>
                    <a:pt x="2597" y="1760"/>
                  </a:cubicBezTo>
                  <a:cubicBezTo>
                    <a:pt x="2564" y="1736"/>
                    <a:pt x="2592" y="1738"/>
                    <a:pt x="2607" y="1691"/>
                  </a:cubicBezTo>
                  <a:cubicBezTo>
                    <a:pt x="2623" y="1645"/>
                    <a:pt x="2594" y="1623"/>
                    <a:pt x="2573" y="1593"/>
                  </a:cubicBezTo>
                  <a:cubicBezTo>
                    <a:pt x="2551" y="1563"/>
                    <a:pt x="2549" y="1532"/>
                    <a:pt x="2542" y="1495"/>
                  </a:cubicBezTo>
                  <a:cubicBezTo>
                    <a:pt x="2535" y="1458"/>
                    <a:pt x="2490" y="1467"/>
                    <a:pt x="2485" y="1454"/>
                  </a:cubicBezTo>
                  <a:cubicBezTo>
                    <a:pt x="2481" y="1441"/>
                    <a:pt x="2479" y="1436"/>
                    <a:pt x="2448" y="1424"/>
                  </a:cubicBezTo>
                  <a:cubicBezTo>
                    <a:pt x="2417" y="1413"/>
                    <a:pt x="2426" y="1411"/>
                    <a:pt x="2424" y="1380"/>
                  </a:cubicBezTo>
                  <a:cubicBezTo>
                    <a:pt x="2423" y="1371"/>
                    <a:pt x="2421" y="1362"/>
                    <a:pt x="2418" y="1354"/>
                  </a:cubicBezTo>
                  <a:cubicBezTo>
                    <a:pt x="2415" y="1353"/>
                    <a:pt x="2413" y="1353"/>
                    <a:pt x="2411" y="1352"/>
                  </a:cubicBezTo>
                  <a:cubicBezTo>
                    <a:pt x="2358" y="1337"/>
                    <a:pt x="2376" y="1374"/>
                    <a:pt x="2332" y="1382"/>
                  </a:cubicBezTo>
                  <a:cubicBezTo>
                    <a:pt x="2289" y="1389"/>
                    <a:pt x="2289" y="1360"/>
                    <a:pt x="2249" y="1330"/>
                  </a:cubicBezTo>
                  <a:cubicBezTo>
                    <a:pt x="2210" y="1300"/>
                    <a:pt x="2166" y="1297"/>
                    <a:pt x="2179" y="1252"/>
                  </a:cubicBezTo>
                  <a:cubicBezTo>
                    <a:pt x="2192" y="1208"/>
                    <a:pt x="2162" y="1156"/>
                    <a:pt x="2210" y="1141"/>
                  </a:cubicBezTo>
                  <a:cubicBezTo>
                    <a:pt x="2258" y="1126"/>
                    <a:pt x="2302" y="1100"/>
                    <a:pt x="2306" y="1041"/>
                  </a:cubicBezTo>
                  <a:cubicBezTo>
                    <a:pt x="2310" y="981"/>
                    <a:pt x="2310" y="941"/>
                    <a:pt x="2267" y="911"/>
                  </a:cubicBezTo>
                  <a:cubicBezTo>
                    <a:pt x="2223" y="881"/>
                    <a:pt x="2140" y="844"/>
                    <a:pt x="2101" y="878"/>
                  </a:cubicBezTo>
                  <a:cubicBezTo>
                    <a:pt x="2061" y="911"/>
                    <a:pt x="1996" y="993"/>
                    <a:pt x="1926" y="1007"/>
                  </a:cubicBezTo>
                  <a:cubicBezTo>
                    <a:pt x="1856" y="1022"/>
                    <a:pt x="1782" y="1048"/>
                    <a:pt x="1721" y="1019"/>
                  </a:cubicBezTo>
                  <a:cubicBezTo>
                    <a:pt x="1660" y="989"/>
                    <a:pt x="1625" y="1007"/>
                    <a:pt x="1594" y="970"/>
                  </a:cubicBezTo>
                  <a:cubicBezTo>
                    <a:pt x="1563" y="933"/>
                    <a:pt x="1598" y="855"/>
                    <a:pt x="1550" y="855"/>
                  </a:cubicBezTo>
                  <a:cubicBezTo>
                    <a:pt x="1502" y="855"/>
                    <a:pt x="1480" y="870"/>
                    <a:pt x="1446" y="833"/>
                  </a:cubicBezTo>
                  <a:cubicBezTo>
                    <a:pt x="1411" y="796"/>
                    <a:pt x="1323" y="785"/>
                    <a:pt x="1328" y="767"/>
                  </a:cubicBezTo>
                  <a:cubicBezTo>
                    <a:pt x="1332" y="748"/>
                    <a:pt x="1367" y="685"/>
                    <a:pt x="1402" y="674"/>
                  </a:cubicBezTo>
                  <a:cubicBezTo>
                    <a:pt x="1437" y="663"/>
                    <a:pt x="1480" y="655"/>
                    <a:pt x="1485" y="615"/>
                  </a:cubicBezTo>
                  <a:cubicBezTo>
                    <a:pt x="1489" y="574"/>
                    <a:pt x="1498" y="537"/>
                    <a:pt x="1437" y="514"/>
                  </a:cubicBezTo>
                  <a:cubicBezTo>
                    <a:pt x="1376" y="492"/>
                    <a:pt x="1231" y="492"/>
                    <a:pt x="1205" y="500"/>
                  </a:cubicBezTo>
                  <a:cubicBezTo>
                    <a:pt x="1179" y="507"/>
                    <a:pt x="1175" y="514"/>
                    <a:pt x="1148" y="548"/>
                  </a:cubicBezTo>
                  <a:cubicBezTo>
                    <a:pt x="1122" y="581"/>
                    <a:pt x="1070" y="629"/>
                    <a:pt x="1017" y="577"/>
                  </a:cubicBezTo>
                  <a:cubicBezTo>
                    <a:pt x="965" y="526"/>
                    <a:pt x="926" y="503"/>
                    <a:pt x="908" y="466"/>
                  </a:cubicBezTo>
                  <a:cubicBezTo>
                    <a:pt x="891" y="429"/>
                    <a:pt x="851" y="396"/>
                    <a:pt x="851" y="363"/>
                  </a:cubicBezTo>
                  <a:cubicBezTo>
                    <a:pt x="851" y="329"/>
                    <a:pt x="830" y="307"/>
                    <a:pt x="856" y="277"/>
                  </a:cubicBezTo>
                  <a:cubicBezTo>
                    <a:pt x="882" y="248"/>
                    <a:pt x="886" y="229"/>
                    <a:pt x="873" y="196"/>
                  </a:cubicBezTo>
                  <a:cubicBezTo>
                    <a:pt x="864" y="171"/>
                    <a:pt x="849" y="107"/>
                    <a:pt x="848" y="57"/>
                  </a:cubicBezTo>
                  <a:cubicBezTo>
                    <a:pt x="836" y="52"/>
                    <a:pt x="821" y="44"/>
                    <a:pt x="800" y="31"/>
                  </a:cubicBezTo>
                  <a:cubicBezTo>
                    <a:pt x="751" y="0"/>
                    <a:pt x="744" y="36"/>
                    <a:pt x="692" y="31"/>
                  </a:cubicBezTo>
                  <a:cubicBezTo>
                    <a:pt x="673" y="29"/>
                    <a:pt x="664" y="27"/>
                    <a:pt x="661" y="24"/>
                  </a:cubicBezTo>
                  <a:cubicBezTo>
                    <a:pt x="648" y="39"/>
                    <a:pt x="634" y="58"/>
                    <a:pt x="629" y="77"/>
                  </a:cubicBezTo>
                  <a:cubicBezTo>
                    <a:pt x="616" y="122"/>
                    <a:pt x="664" y="170"/>
                    <a:pt x="594" y="192"/>
                  </a:cubicBezTo>
                  <a:cubicBezTo>
                    <a:pt x="524" y="214"/>
                    <a:pt x="471" y="203"/>
                    <a:pt x="428" y="233"/>
                  </a:cubicBezTo>
                  <a:cubicBezTo>
                    <a:pt x="384" y="262"/>
                    <a:pt x="336" y="255"/>
                    <a:pt x="305" y="288"/>
                  </a:cubicBezTo>
                  <a:cubicBezTo>
                    <a:pt x="275" y="322"/>
                    <a:pt x="209" y="333"/>
                    <a:pt x="196" y="370"/>
                  </a:cubicBezTo>
                  <a:cubicBezTo>
                    <a:pt x="183" y="407"/>
                    <a:pt x="153" y="414"/>
                    <a:pt x="113" y="418"/>
                  </a:cubicBezTo>
                  <a:cubicBezTo>
                    <a:pt x="74" y="422"/>
                    <a:pt x="0" y="444"/>
                    <a:pt x="0" y="511"/>
                  </a:cubicBezTo>
                  <a:cubicBezTo>
                    <a:pt x="0" y="577"/>
                    <a:pt x="22" y="644"/>
                    <a:pt x="26" y="681"/>
                  </a:cubicBezTo>
                  <a:cubicBezTo>
                    <a:pt x="30" y="718"/>
                    <a:pt x="48" y="763"/>
                    <a:pt x="26" y="792"/>
                  </a:cubicBezTo>
                  <a:cubicBezTo>
                    <a:pt x="8" y="817"/>
                    <a:pt x="34" y="794"/>
                    <a:pt x="63" y="857"/>
                  </a:cubicBezTo>
                  <a:cubicBezTo>
                    <a:pt x="88" y="855"/>
                    <a:pt x="115" y="852"/>
                    <a:pt x="139" y="855"/>
                  </a:cubicBezTo>
                  <a:cubicBezTo>
                    <a:pt x="196" y="863"/>
                    <a:pt x="249" y="904"/>
                    <a:pt x="301" y="907"/>
                  </a:cubicBezTo>
                  <a:cubicBezTo>
                    <a:pt x="353" y="911"/>
                    <a:pt x="380" y="885"/>
                    <a:pt x="415" y="933"/>
                  </a:cubicBezTo>
                  <a:cubicBezTo>
                    <a:pt x="450" y="981"/>
                    <a:pt x="485" y="1015"/>
                    <a:pt x="528" y="1022"/>
                  </a:cubicBezTo>
                  <a:cubicBezTo>
                    <a:pt x="572" y="1030"/>
                    <a:pt x="563" y="1026"/>
                    <a:pt x="633" y="1000"/>
                  </a:cubicBezTo>
                  <a:cubicBezTo>
                    <a:pt x="703" y="974"/>
                    <a:pt x="712" y="937"/>
                    <a:pt x="777" y="948"/>
                  </a:cubicBezTo>
                  <a:cubicBezTo>
                    <a:pt x="843" y="959"/>
                    <a:pt x="930" y="996"/>
                    <a:pt x="956" y="967"/>
                  </a:cubicBezTo>
                  <a:cubicBezTo>
                    <a:pt x="983" y="937"/>
                    <a:pt x="991" y="896"/>
                    <a:pt x="1074" y="941"/>
                  </a:cubicBezTo>
                  <a:cubicBezTo>
                    <a:pt x="1157" y="985"/>
                    <a:pt x="1227" y="985"/>
                    <a:pt x="1231" y="1015"/>
                  </a:cubicBezTo>
                  <a:cubicBezTo>
                    <a:pt x="1236" y="1044"/>
                    <a:pt x="1249" y="1059"/>
                    <a:pt x="1293" y="1041"/>
                  </a:cubicBezTo>
                  <a:cubicBezTo>
                    <a:pt x="1336" y="1022"/>
                    <a:pt x="1389" y="978"/>
                    <a:pt x="1393" y="1019"/>
                  </a:cubicBezTo>
                  <a:cubicBezTo>
                    <a:pt x="1397" y="1059"/>
                    <a:pt x="1384" y="1126"/>
                    <a:pt x="1432" y="1145"/>
                  </a:cubicBezTo>
                  <a:cubicBezTo>
                    <a:pt x="1480" y="1163"/>
                    <a:pt x="1559" y="1182"/>
                    <a:pt x="1585" y="1211"/>
                  </a:cubicBezTo>
                  <a:cubicBezTo>
                    <a:pt x="1612" y="1241"/>
                    <a:pt x="1660" y="1319"/>
                    <a:pt x="1695" y="1311"/>
                  </a:cubicBezTo>
                  <a:cubicBezTo>
                    <a:pt x="1729" y="1304"/>
                    <a:pt x="1782" y="1241"/>
                    <a:pt x="1808" y="1293"/>
                  </a:cubicBezTo>
                  <a:cubicBezTo>
                    <a:pt x="1834" y="1345"/>
                    <a:pt x="1895" y="1360"/>
                    <a:pt x="1904" y="1389"/>
                  </a:cubicBezTo>
                  <a:cubicBezTo>
                    <a:pt x="1913" y="1419"/>
                    <a:pt x="1944" y="1448"/>
                    <a:pt x="1926" y="1471"/>
                  </a:cubicBezTo>
                  <a:cubicBezTo>
                    <a:pt x="1909" y="1493"/>
                    <a:pt x="1895" y="1497"/>
                    <a:pt x="1965" y="1523"/>
                  </a:cubicBezTo>
                  <a:cubicBezTo>
                    <a:pt x="1996" y="1541"/>
                    <a:pt x="1987" y="1567"/>
                    <a:pt x="1987" y="1586"/>
                  </a:cubicBezTo>
                  <a:cubicBezTo>
                    <a:pt x="1987" y="1604"/>
                    <a:pt x="1987" y="1612"/>
                    <a:pt x="2018" y="1638"/>
                  </a:cubicBezTo>
                  <a:cubicBezTo>
                    <a:pt x="2048" y="1663"/>
                    <a:pt x="2075" y="1701"/>
                    <a:pt x="2057" y="1741"/>
                  </a:cubicBezTo>
                  <a:cubicBezTo>
                    <a:pt x="2040" y="1782"/>
                    <a:pt x="2022" y="1797"/>
                    <a:pt x="2022" y="1812"/>
                  </a:cubicBezTo>
                  <a:cubicBezTo>
                    <a:pt x="2022" y="1827"/>
                    <a:pt x="2018" y="1878"/>
                    <a:pt x="1992" y="1860"/>
                  </a:cubicBezTo>
                  <a:cubicBezTo>
                    <a:pt x="1965" y="1841"/>
                    <a:pt x="1974" y="1808"/>
                    <a:pt x="1965" y="1841"/>
                  </a:cubicBezTo>
                  <a:cubicBezTo>
                    <a:pt x="1957" y="1875"/>
                    <a:pt x="1944" y="1886"/>
                    <a:pt x="1926" y="1882"/>
                  </a:cubicBezTo>
                  <a:cubicBezTo>
                    <a:pt x="1909" y="1878"/>
                    <a:pt x="1887" y="1912"/>
                    <a:pt x="1909" y="1930"/>
                  </a:cubicBezTo>
                  <a:cubicBezTo>
                    <a:pt x="1930" y="1949"/>
                    <a:pt x="1917" y="1971"/>
                    <a:pt x="1891" y="1997"/>
                  </a:cubicBezTo>
                  <a:cubicBezTo>
                    <a:pt x="1865" y="2023"/>
                    <a:pt x="1812" y="2001"/>
                    <a:pt x="1817" y="2049"/>
                  </a:cubicBezTo>
                  <a:cubicBezTo>
                    <a:pt x="1821" y="2097"/>
                    <a:pt x="1817" y="2123"/>
                    <a:pt x="1808" y="2156"/>
                  </a:cubicBezTo>
                  <a:cubicBezTo>
                    <a:pt x="1799" y="2190"/>
                    <a:pt x="1791" y="2208"/>
                    <a:pt x="1751" y="2197"/>
                  </a:cubicBezTo>
                  <a:cubicBezTo>
                    <a:pt x="1712" y="2186"/>
                    <a:pt x="1686" y="2201"/>
                    <a:pt x="1655" y="2168"/>
                  </a:cubicBezTo>
                  <a:cubicBezTo>
                    <a:pt x="1625" y="2134"/>
                    <a:pt x="1612" y="2093"/>
                    <a:pt x="1594" y="2138"/>
                  </a:cubicBezTo>
                  <a:cubicBezTo>
                    <a:pt x="1577" y="2182"/>
                    <a:pt x="1572" y="2223"/>
                    <a:pt x="1629" y="2231"/>
                  </a:cubicBezTo>
                  <a:cubicBezTo>
                    <a:pt x="1686" y="2238"/>
                    <a:pt x="1743" y="2223"/>
                    <a:pt x="1764" y="2256"/>
                  </a:cubicBezTo>
                  <a:cubicBezTo>
                    <a:pt x="1786" y="2290"/>
                    <a:pt x="1817" y="2312"/>
                    <a:pt x="1861" y="2316"/>
                  </a:cubicBezTo>
                  <a:cubicBezTo>
                    <a:pt x="1881" y="2317"/>
                    <a:pt x="1899" y="2315"/>
                    <a:pt x="1913" y="2315"/>
                  </a:cubicBezTo>
                  <a:cubicBezTo>
                    <a:pt x="1906" y="2294"/>
                    <a:pt x="1883" y="2274"/>
                    <a:pt x="1880" y="2258"/>
                  </a:cubicBezTo>
                  <a:cubicBezTo>
                    <a:pt x="1876" y="2238"/>
                    <a:pt x="1909" y="2229"/>
                    <a:pt x="1928" y="2229"/>
                  </a:cubicBezTo>
                  <a:cubicBezTo>
                    <a:pt x="1948" y="2229"/>
                    <a:pt x="1948" y="2223"/>
                    <a:pt x="1998" y="2201"/>
                  </a:cubicBezTo>
                  <a:cubicBezTo>
                    <a:pt x="2048" y="2179"/>
                    <a:pt x="2046" y="2188"/>
                    <a:pt x="2079" y="2193"/>
                  </a:cubicBezTo>
                  <a:cubicBezTo>
                    <a:pt x="2112" y="2199"/>
                    <a:pt x="2101" y="2262"/>
                    <a:pt x="2101" y="2284"/>
                  </a:cubicBezTo>
                  <a:cubicBezTo>
                    <a:pt x="2101" y="2307"/>
                    <a:pt x="2112" y="2305"/>
                    <a:pt x="2147" y="2308"/>
                  </a:cubicBezTo>
                  <a:cubicBezTo>
                    <a:pt x="2182" y="2312"/>
                    <a:pt x="2168" y="2336"/>
                    <a:pt x="2171" y="2351"/>
                  </a:cubicBezTo>
                  <a:cubicBezTo>
                    <a:pt x="2173" y="2366"/>
                    <a:pt x="2186" y="2364"/>
                    <a:pt x="2208" y="2381"/>
                  </a:cubicBezTo>
                  <a:cubicBezTo>
                    <a:pt x="2230" y="2397"/>
                    <a:pt x="2241" y="2414"/>
                    <a:pt x="2258" y="2427"/>
                  </a:cubicBezTo>
                  <a:cubicBezTo>
                    <a:pt x="2275" y="2440"/>
                    <a:pt x="2295" y="2434"/>
                    <a:pt x="2308" y="2418"/>
                  </a:cubicBezTo>
                  <a:cubicBezTo>
                    <a:pt x="2321" y="2401"/>
                    <a:pt x="2339" y="2392"/>
                    <a:pt x="2363" y="2407"/>
                  </a:cubicBezTo>
                  <a:cubicBezTo>
                    <a:pt x="2387" y="2421"/>
                    <a:pt x="2354" y="2434"/>
                    <a:pt x="2380" y="2455"/>
                  </a:cubicBezTo>
                  <a:cubicBezTo>
                    <a:pt x="2407" y="2475"/>
                    <a:pt x="2402" y="2503"/>
                    <a:pt x="2404" y="2523"/>
                  </a:cubicBezTo>
                  <a:cubicBezTo>
                    <a:pt x="2407" y="2544"/>
                    <a:pt x="2428" y="2547"/>
                    <a:pt x="2455" y="2564"/>
                  </a:cubicBezTo>
                  <a:cubicBezTo>
                    <a:pt x="2481" y="2581"/>
                    <a:pt x="2483" y="2562"/>
                    <a:pt x="2531" y="2581"/>
                  </a:cubicBezTo>
                  <a:cubicBezTo>
                    <a:pt x="2579" y="2599"/>
                    <a:pt x="2568" y="2588"/>
                    <a:pt x="2618" y="2572"/>
                  </a:cubicBezTo>
                  <a:cubicBezTo>
                    <a:pt x="2669" y="2555"/>
                    <a:pt x="2647" y="2516"/>
                    <a:pt x="2649" y="2499"/>
                  </a:cubicBezTo>
                  <a:cubicBezTo>
                    <a:pt x="2651" y="2486"/>
                    <a:pt x="2687" y="2489"/>
                    <a:pt x="2719" y="2491"/>
                  </a:cubicBezTo>
                  <a:cubicBezTo>
                    <a:pt x="2729" y="2478"/>
                    <a:pt x="2744" y="2462"/>
                    <a:pt x="2756" y="2455"/>
                  </a:cubicBezTo>
                  <a:cubicBezTo>
                    <a:pt x="2778" y="2442"/>
                    <a:pt x="2747" y="2429"/>
                    <a:pt x="2763" y="2412"/>
                  </a:cubicBezTo>
                  <a:cubicBezTo>
                    <a:pt x="2778" y="2395"/>
                    <a:pt x="2780" y="2388"/>
                    <a:pt x="2756" y="2381"/>
                  </a:cubicBezTo>
                  <a:cubicBezTo>
                    <a:pt x="2732" y="2373"/>
                    <a:pt x="2695" y="2362"/>
                    <a:pt x="2719" y="2349"/>
                  </a:cubicBezTo>
                  <a:cubicBezTo>
                    <a:pt x="2743" y="2336"/>
                    <a:pt x="2756" y="2318"/>
                    <a:pt x="2771" y="2321"/>
                  </a:cubicBezTo>
                  <a:cubicBezTo>
                    <a:pt x="2787" y="2325"/>
                    <a:pt x="2815" y="2338"/>
                    <a:pt x="2819" y="2325"/>
                  </a:cubicBezTo>
                  <a:cubicBezTo>
                    <a:pt x="2824" y="2312"/>
                    <a:pt x="2830" y="2297"/>
                    <a:pt x="2843" y="2308"/>
                  </a:cubicBezTo>
                  <a:cubicBezTo>
                    <a:pt x="2856" y="2319"/>
                    <a:pt x="2852" y="2331"/>
                    <a:pt x="2880" y="2329"/>
                  </a:cubicBezTo>
                  <a:cubicBezTo>
                    <a:pt x="2909" y="2327"/>
                    <a:pt x="2915" y="2312"/>
                    <a:pt x="2896" y="2297"/>
                  </a:cubicBezTo>
                  <a:cubicBezTo>
                    <a:pt x="2876" y="2282"/>
                    <a:pt x="2859" y="2288"/>
                    <a:pt x="2876" y="2271"/>
                  </a:cubicBezTo>
                  <a:cubicBezTo>
                    <a:pt x="2894" y="2255"/>
                    <a:pt x="2885" y="2245"/>
                    <a:pt x="2874" y="2238"/>
                  </a:cubicBezTo>
                  <a:cubicBezTo>
                    <a:pt x="2863" y="2231"/>
                    <a:pt x="2872" y="2229"/>
                    <a:pt x="2883" y="2212"/>
                  </a:cubicBezTo>
                  <a:cubicBezTo>
                    <a:pt x="2894" y="2195"/>
                    <a:pt x="2909" y="2195"/>
                    <a:pt x="2907" y="2173"/>
                  </a:cubicBezTo>
                  <a:cubicBezTo>
                    <a:pt x="2905" y="2151"/>
                    <a:pt x="2933" y="2134"/>
                    <a:pt x="2918" y="2119"/>
                  </a:cubicBezTo>
                  <a:cubicBezTo>
                    <a:pt x="2902" y="2105"/>
                    <a:pt x="2894" y="2084"/>
                    <a:pt x="2874" y="2088"/>
                  </a:cubicBezTo>
                  <a:cubicBezTo>
                    <a:pt x="2854" y="2092"/>
                    <a:pt x="2835" y="2092"/>
                    <a:pt x="2837" y="2077"/>
                  </a:cubicBezTo>
                  <a:cubicBezTo>
                    <a:pt x="2839" y="2062"/>
                    <a:pt x="2852" y="2042"/>
                    <a:pt x="2870" y="2034"/>
                  </a:cubicBezTo>
                  <a:cubicBezTo>
                    <a:pt x="2887" y="2027"/>
                    <a:pt x="2889" y="2012"/>
                    <a:pt x="2878" y="1995"/>
                  </a:cubicBezTo>
                  <a:cubicBezTo>
                    <a:pt x="2867" y="1979"/>
                    <a:pt x="2856" y="1943"/>
                    <a:pt x="2900" y="1940"/>
                  </a:cubicBezTo>
                  <a:cubicBezTo>
                    <a:pt x="2944" y="1936"/>
                    <a:pt x="2974" y="1927"/>
                    <a:pt x="2983" y="1945"/>
                  </a:cubicBezTo>
                  <a:cubicBezTo>
                    <a:pt x="2992" y="1964"/>
                    <a:pt x="3018" y="1986"/>
                    <a:pt x="3051" y="1982"/>
                  </a:cubicBezTo>
                  <a:cubicBezTo>
                    <a:pt x="3084" y="1979"/>
                    <a:pt x="3088" y="1966"/>
                    <a:pt x="3114" y="1966"/>
                  </a:cubicBezTo>
                  <a:cubicBezTo>
                    <a:pt x="3140" y="1966"/>
                    <a:pt x="3167" y="1986"/>
                    <a:pt x="3167" y="1953"/>
                  </a:cubicBezTo>
                  <a:cubicBezTo>
                    <a:pt x="3167" y="1919"/>
                    <a:pt x="3127" y="1901"/>
                    <a:pt x="3156" y="1893"/>
                  </a:cubicBezTo>
                  <a:cubicBezTo>
                    <a:pt x="3184" y="1886"/>
                    <a:pt x="3186" y="1873"/>
                    <a:pt x="3204" y="1884"/>
                  </a:cubicBezTo>
                  <a:cubicBezTo>
                    <a:pt x="3221" y="1895"/>
                    <a:pt x="3226" y="1897"/>
                    <a:pt x="3232" y="1884"/>
                  </a:cubicBezTo>
                  <a:cubicBezTo>
                    <a:pt x="3239" y="1871"/>
                    <a:pt x="3232" y="1873"/>
                    <a:pt x="3258" y="1877"/>
                  </a:cubicBezTo>
                  <a:cubicBezTo>
                    <a:pt x="3285" y="1880"/>
                    <a:pt x="3350" y="1878"/>
                    <a:pt x="3357" y="1852"/>
                  </a:cubicBezTo>
                  <a:cubicBezTo>
                    <a:pt x="3363" y="1827"/>
                    <a:pt x="3357" y="1817"/>
                    <a:pt x="3337" y="1795"/>
                  </a:cubicBezTo>
                  <a:cubicBezTo>
                    <a:pt x="3317" y="1773"/>
                    <a:pt x="3298" y="1751"/>
                    <a:pt x="3319" y="1723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" name="Freeform 21"/>
            <p:cNvSpPr>
              <a:spLocks/>
            </p:cNvSpPr>
            <p:nvPr/>
          </p:nvSpPr>
          <p:spPr bwMode="auto">
            <a:xfrm>
              <a:off x="3110" y="1852"/>
              <a:ext cx="303" cy="480"/>
            </a:xfrm>
            <a:custGeom>
              <a:avLst/>
              <a:gdLst>
                <a:gd name="T0" fmla="*/ 31 w 655"/>
                <a:gd name="T1" fmla="*/ 565 h 1036"/>
                <a:gd name="T2" fmla="*/ 68 w 655"/>
                <a:gd name="T3" fmla="*/ 595 h 1036"/>
                <a:gd name="T4" fmla="*/ 125 w 655"/>
                <a:gd name="T5" fmla="*/ 636 h 1036"/>
                <a:gd name="T6" fmla="*/ 156 w 655"/>
                <a:gd name="T7" fmla="*/ 734 h 1036"/>
                <a:gd name="T8" fmla="*/ 190 w 655"/>
                <a:gd name="T9" fmla="*/ 832 h 1036"/>
                <a:gd name="T10" fmla="*/ 180 w 655"/>
                <a:gd name="T11" fmla="*/ 901 h 1036"/>
                <a:gd name="T12" fmla="*/ 234 w 655"/>
                <a:gd name="T13" fmla="*/ 934 h 1036"/>
                <a:gd name="T14" fmla="*/ 287 w 655"/>
                <a:gd name="T15" fmla="*/ 960 h 1036"/>
                <a:gd name="T16" fmla="*/ 346 w 655"/>
                <a:gd name="T17" fmla="*/ 1003 h 1036"/>
                <a:gd name="T18" fmla="*/ 387 w 655"/>
                <a:gd name="T19" fmla="*/ 1023 h 1036"/>
                <a:gd name="T20" fmla="*/ 426 w 655"/>
                <a:gd name="T21" fmla="*/ 1018 h 1036"/>
                <a:gd name="T22" fmla="*/ 444 w 655"/>
                <a:gd name="T23" fmla="*/ 990 h 1036"/>
                <a:gd name="T24" fmla="*/ 446 w 655"/>
                <a:gd name="T25" fmla="*/ 958 h 1036"/>
                <a:gd name="T26" fmla="*/ 453 w 655"/>
                <a:gd name="T27" fmla="*/ 921 h 1036"/>
                <a:gd name="T28" fmla="*/ 531 w 655"/>
                <a:gd name="T29" fmla="*/ 919 h 1036"/>
                <a:gd name="T30" fmla="*/ 540 w 655"/>
                <a:gd name="T31" fmla="*/ 855 h 1036"/>
                <a:gd name="T32" fmla="*/ 503 w 655"/>
                <a:gd name="T33" fmla="*/ 806 h 1036"/>
                <a:gd name="T34" fmla="*/ 429 w 655"/>
                <a:gd name="T35" fmla="*/ 769 h 1036"/>
                <a:gd name="T36" fmla="*/ 433 w 655"/>
                <a:gd name="T37" fmla="*/ 697 h 1036"/>
                <a:gd name="T38" fmla="*/ 457 w 655"/>
                <a:gd name="T39" fmla="*/ 654 h 1036"/>
                <a:gd name="T40" fmla="*/ 457 w 655"/>
                <a:gd name="T41" fmla="*/ 573 h 1036"/>
                <a:gd name="T42" fmla="*/ 488 w 655"/>
                <a:gd name="T43" fmla="*/ 564 h 1036"/>
                <a:gd name="T44" fmla="*/ 555 w 655"/>
                <a:gd name="T45" fmla="*/ 571 h 1036"/>
                <a:gd name="T46" fmla="*/ 607 w 655"/>
                <a:gd name="T47" fmla="*/ 567 h 1036"/>
                <a:gd name="T48" fmla="*/ 601 w 655"/>
                <a:gd name="T49" fmla="*/ 543 h 1036"/>
                <a:gd name="T50" fmla="*/ 592 w 655"/>
                <a:gd name="T51" fmla="*/ 493 h 1036"/>
                <a:gd name="T52" fmla="*/ 612 w 655"/>
                <a:gd name="T53" fmla="*/ 443 h 1036"/>
                <a:gd name="T54" fmla="*/ 655 w 655"/>
                <a:gd name="T55" fmla="*/ 399 h 1036"/>
                <a:gd name="T56" fmla="*/ 579 w 655"/>
                <a:gd name="T57" fmla="*/ 330 h 1036"/>
                <a:gd name="T58" fmla="*/ 453 w 655"/>
                <a:gd name="T59" fmla="*/ 308 h 1036"/>
                <a:gd name="T60" fmla="*/ 435 w 655"/>
                <a:gd name="T61" fmla="*/ 197 h 1036"/>
                <a:gd name="T62" fmla="*/ 501 w 655"/>
                <a:gd name="T63" fmla="*/ 126 h 1036"/>
                <a:gd name="T64" fmla="*/ 474 w 655"/>
                <a:gd name="T65" fmla="*/ 52 h 1036"/>
                <a:gd name="T66" fmla="*/ 413 w 655"/>
                <a:gd name="T67" fmla="*/ 19 h 1036"/>
                <a:gd name="T68" fmla="*/ 326 w 655"/>
                <a:gd name="T69" fmla="*/ 71 h 1036"/>
                <a:gd name="T70" fmla="*/ 269 w 655"/>
                <a:gd name="T71" fmla="*/ 152 h 1036"/>
                <a:gd name="T72" fmla="*/ 269 w 655"/>
                <a:gd name="T73" fmla="*/ 260 h 1036"/>
                <a:gd name="T74" fmla="*/ 243 w 655"/>
                <a:gd name="T75" fmla="*/ 345 h 1036"/>
                <a:gd name="T76" fmla="*/ 230 w 655"/>
                <a:gd name="T77" fmla="*/ 426 h 1036"/>
                <a:gd name="T78" fmla="*/ 121 w 655"/>
                <a:gd name="T79" fmla="*/ 430 h 1036"/>
                <a:gd name="T80" fmla="*/ 1 w 655"/>
                <a:gd name="T81" fmla="*/ 495 h 1036"/>
                <a:gd name="T82" fmla="*/ 7 w 655"/>
                <a:gd name="T83" fmla="*/ 521 h 1036"/>
                <a:gd name="T84" fmla="*/ 31 w 655"/>
                <a:gd name="T85" fmla="*/ 565 h 1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55" h="1036">
                  <a:moveTo>
                    <a:pt x="31" y="565"/>
                  </a:moveTo>
                  <a:cubicBezTo>
                    <a:pt x="62" y="577"/>
                    <a:pt x="64" y="582"/>
                    <a:pt x="68" y="595"/>
                  </a:cubicBezTo>
                  <a:cubicBezTo>
                    <a:pt x="73" y="608"/>
                    <a:pt x="118" y="599"/>
                    <a:pt x="125" y="636"/>
                  </a:cubicBezTo>
                  <a:cubicBezTo>
                    <a:pt x="132" y="673"/>
                    <a:pt x="134" y="704"/>
                    <a:pt x="156" y="734"/>
                  </a:cubicBezTo>
                  <a:cubicBezTo>
                    <a:pt x="177" y="764"/>
                    <a:pt x="206" y="786"/>
                    <a:pt x="190" y="832"/>
                  </a:cubicBezTo>
                  <a:cubicBezTo>
                    <a:pt x="175" y="879"/>
                    <a:pt x="147" y="877"/>
                    <a:pt x="180" y="901"/>
                  </a:cubicBezTo>
                  <a:cubicBezTo>
                    <a:pt x="212" y="925"/>
                    <a:pt x="210" y="934"/>
                    <a:pt x="234" y="934"/>
                  </a:cubicBezTo>
                  <a:cubicBezTo>
                    <a:pt x="258" y="934"/>
                    <a:pt x="280" y="929"/>
                    <a:pt x="287" y="960"/>
                  </a:cubicBezTo>
                  <a:cubicBezTo>
                    <a:pt x="293" y="992"/>
                    <a:pt x="295" y="1008"/>
                    <a:pt x="346" y="1003"/>
                  </a:cubicBezTo>
                  <a:cubicBezTo>
                    <a:pt x="365" y="1003"/>
                    <a:pt x="380" y="1010"/>
                    <a:pt x="387" y="1023"/>
                  </a:cubicBezTo>
                  <a:cubicBezTo>
                    <a:pt x="394" y="1036"/>
                    <a:pt x="402" y="1032"/>
                    <a:pt x="426" y="1018"/>
                  </a:cubicBezTo>
                  <a:cubicBezTo>
                    <a:pt x="450" y="1003"/>
                    <a:pt x="466" y="1003"/>
                    <a:pt x="444" y="990"/>
                  </a:cubicBezTo>
                  <a:cubicBezTo>
                    <a:pt x="422" y="977"/>
                    <a:pt x="444" y="968"/>
                    <a:pt x="446" y="958"/>
                  </a:cubicBezTo>
                  <a:cubicBezTo>
                    <a:pt x="448" y="949"/>
                    <a:pt x="420" y="908"/>
                    <a:pt x="453" y="921"/>
                  </a:cubicBezTo>
                  <a:cubicBezTo>
                    <a:pt x="485" y="934"/>
                    <a:pt x="518" y="949"/>
                    <a:pt x="531" y="919"/>
                  </a:cubicBezTo>
                  <a:cubicBezTo>
                    <a:pt x="544" y="890"/>
                    <a:pt x="533" y="873"/>
                    <a:pt x="540" y="855"/>
                  </a:cubicBezTo>
                  <a:cubicBezTo>
                    <a:pt x="546" y="836"/>
                    <a:pt x="536" y="817"/>
                    <a:pt x="503" y="806"/>
                  </a:cubicBezTo>
                  <a:cubicBezTo>
                    <a:pt x="470" y="795"/>
                    <a:pt x="426" y="816"/>
                    <a:pt x="429" y="769"/>
                  </a:cubicBezTo>
                  <a:cubicBezTo>
                    <a:pt x="431" y="723"/>
                    <a:pt x="415" y="710"/>
                    <a:pt x="433" y="697"/>
                  </a:cubicBezTo>
                  <a:cubicBezTo>
                    <a:pt x="450" y="684"/>
                    <a:pt x="461" y="684"/>
                    <a:pt x="457" y="654"/>
                  </a:cubicBezTo>
                  <a:cubicBezTo>
                    <a:pt x="453" y="625"/>
                    <a:pt x="446" y="588"/>
                    <a:pt x="457" y="573"/>
                  </a:cubicBezTo>
                  <a:cubicBezTo>
                    <a:pt x="468" y="558"/>
                    <a:pt x="474" y="549"/>
                    <a:pt x="488" y="564"/>
                  </a:cubicBezTo>
                  <a:cubicBezTo>
                    <a:pt x="501" y="578"/>
                    <a:pt x="507" y="571"/>
                    <a:pt x="555" y="571"/>
                  </a:cubicBezTo>
                  <a:cubicBezTo>
                    <a:pt x="573" y="571"/>
                    <a:pt x="592" y="569"/>
                    <a:pt x="607" y="567"/>
                  </a:cubicBezTo>
                  <a:cubicBezTo>
                    <a:pt x="609" y="560"/>
                    <a:pt x="608" y="553"/>
                    <a:pt x="601" y="543"/>
                  </a:cubicBezTo>
                  <a:cubicBezTo>
                    <a:pt x="584" y="521"/>
                    <a:pt x="584" y="515"/>
                    <a:pt x="592" y="493"/>
                  </a:cubicBezTo>
                  <a:cubicBezTo>
                    <a:pt x="601" y="471"/>
                    <a:pt x="588" y="460"/>
                    <a:pt x="612" y="443"/>
                  </a:cubicBezTo>
                  <a:cubicBezTo>
                    <a:pt x="630" y="430"/>
                    <a:pt x="642" y="417"/>
                    <a:pt x="655" y="399"/>
                  </a:cubicBezTo>
                  <a:cubicBezTo>
                    <a:pt x="639" y="390"/>
                    <a:pt x="645" y="350"/>
                    <a:pt x="579" y="330"/>
                  </a:cubicBezTo>
                  <a:cubicBezTo>
                    <a:pt x="505" y="308"/>
                    <a:pt x="492" y="334"/>
                    <a:pt x="453" y="308"/>
                  </a:cubicBezTo>
                  <a:cubicBezTo>
                    <a:pt x="413" y="282"/>
                    <a:pt x="409" y="223"/>
                    <a:pt x="435" y="197"/>
                  </a:cubicBezTo>
                  <a:cubicBezTo>
                    <a:pt x="461" y="171"/>
                    <a:pt x="488" y="156"/>
                    <a:pt x="501" y="126"/>
                  </a:cubicBezTo>
                  <a:cubicBezTo>
                    <a:pt x="514" y="97"/>
                    <a:pt x="492" y="67"/>
                    <a:pt x="474" y="52"/>
                  </a:cubicBezTo>
                  <a:cubicBezTo>
                    <a:pt x="457" y="37"/>
                    <a:pt x="439" y="0"/>
                    <a:pt x="413" y="19"/>
                  </a:cubicBezTo>
                  <a:cubicBezTo>
                    <a:pt x="387" y="37"/>
                    <a:pt x="352" y="34"/>
                    <a:pt x="326" y="71"/>
                  </a:cubicBezTo>
                  <a:cubicBezTo>
                    <a:pt x="300" y="108"/>
                    <a:pt x="265" y="119"/>
                    <a:pt x="269" y="152"/>
                  </a:cubicBezTo>
                  <a:cubicBezTo>
                    <a:pt x="273" y="185"/>
                    <a:pt x="295" y="234"/>
                    <a:pt x="269" y="260"/>
                  </a:cubicBezTo>
                  <a:cubicBezTo>
                    <a:pt x="243" y="286"/>
                    <a:pt x="221" y="334"/>
                    <a:pt x="243" y="345"/>
                  </a:cubicBezTo>
                  <a:cubicBezTo>
                    <a:pt x="265" y="356"/>
                    <a:pt x="282" y="423"/>
                    <a:pt x="230" y="426"/>
                  </a:cubicBezTo>
                  <a:cubicBezTo>
                    <a:pt x="177" y="430"/>
                    <a:pt x="138" y="397"/>
                    <a:pt x="121" y="430"/>
                  </a:cubicBezTo>
                  <a:cubicBezTo>
                    <a:pt x="104" y="462"/>
                    <a:pt x="51" y="504"/>
                    <a:pt x="1" y="495"/>
                  </a:cubicBezTo>
                  <a:cubicBezTo>
                    <a:pt x="4" y="503"/>
                    <a:pt x="6" y="512"/>
                    <a:pt x="7" y="521"/>
                  </a:cubicBezTo>
                  <a:cubicBezTo>
                    <a:pt x="9" y="552"/>
                    <a:pt x="0" y="554"/>
                    <a:pt x="31" y="565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3" name="Freeform 22"/>
            <p:cNvSpPr>
              <a:spLocks/>
            </p:cNvSpPr>
            <p:nvPr/>
          </p:nvSpPr>
          <p:spPr bwMode="auto">
            <a:xfrm>
              <a:off x="4177" y="2831"/>
              <a:ext cx="568" cy="690"/>
            </a:xfrm>
            <a:custGeom>
              <a:avLst/>
              <a:gdLst>
                <a:gd name="T0" fmla="*/ 1135 w 1227"/>
                <a:gd name="T1" fmla="*/ 248 h 1490"/>
                <a:gd name="T2" fmla="*/ 1085 w 1227"/>
                <a:gd name="T3" fmla="*/ 118 h 1490"/>
                <a:gd name="T4" fmla="*/ 919 w 1227"/>
                <a:gd name="T5" fmla="*/ 94 h 1490"/>
                <a:gd name="T6" fmla="*/ 784 w 1227"/>
                <a:gd name="T7" fmla="*/ 102 h 1490"/>
                <a:gd name="T8" fmla="*/ 723 w 1227"/>
                <a:gd name="T9" fmla="*/ 89 h 1490"/>
                <a:gd name="T10" fmla="*/ 696 w 1227"/>
                <a:gd name="T11" fmla="*/ 17 h 1490"/>
                <a:gd name="T12" fmla="*/ 578 w 1227"/>
                <a:gd name="T13" fmla="*/ 92 h 1490"/>
                <a:gd name="T14" fmla="*/ 504 w 1227"/>
                <a:gd name="T15" fmla="*/ 120 h 1490"/>
                <a:gd name="T16" fmla="*/ 408 w 1227"/>
                <a:gd name="T17" fmla="*/ 126 h 1490"/>
                <a:gd name="T18" fmla="*/ 319 w 1227"/>
                <a:gd name="T19" fmla="*/ 181 h 1490"/>
                <a:gd name="T20" fmla="*/ 161 w 1227"/>
                <a:gd name="T21" fmla="*/ 257 h 1490"/>
                <a:gd name="T22" fmla="*/ 87 w 1227"/>
                <a:gd name="T23" fmla="*/ 307 h 1490"/>
                <a:gd name="T24" fmla="*/ 83 w 1227"/>
                <a:gd name="T25" fmla="*/ 363 h 1490"/>
                <a:gd name="T26" fmla="*/ 144 w 1227"/>
                <a:gd name="T27" fmla="*/ 537 h 1490"/>
                <a:gd name="T28" fmla="*/ 48 w 1227"/>
                <a:gd name="T29" fmla="*/ 771 h 1490"/>
                <a:gd name="T30" fmla="*/ 109 w 1227"/>
                <a:gd name="T31" fmla="*/ 912 h 1490"/>
                <a:gd name="T32" fmla="*/ 218 w 1227"/>
                <a:gd name="T33" fmla="*/ 1041 h 1490"/>
                <a:gd name="T34" fmla="*/ 170 w 1227"/>
                <a:gd name="T35" fmla="*/ 1186 h 1490"/>
                <a:gd name="T36" fmla="*/ 305 w 1227"/>
                <a:gd name="T37" fmla="*/ 1267 h 1490"/>
                <a:gd name="T38" fmla="*/ 388 w 1227"/>
                <a:gd name="T39" fmla="*/ 1304 h 1490"/>
                <a:gd name="T40" fmla="*/ 305 w 1227"/>
                <a:gd name="T41" fmla="*/ 1460 h 1490"/>
                <a:gd name="T42" fmla="*/ 563 w 1227"/>
                <a:gd name="T43" fmla="*/ 1379 h 1490"/>
                <a:gd name="T44" fmla="*/ 685 w 1227"/>
                <a:gd name="T45" fmla="*/ 1327 h 1490"/>
                <a:gd name="T46" fmla="*/ 681 w 1227"/>
                <a:gd name="T47" fmla="*/ 1269 h 1490"/>
                <a:gd name="T48" fmla="*/ 716 w 1227"/>
                <a:gd name="T49" fmla="*/ 1130 h 1490"/>
                <a:gd name="T50" fmla="*/ 779 w 1227"/>
                <a:gd name="T51" fmla="*/ 1045 h 1490"/>
                <a:gd name="T52" fmla="*/ 782 w 1227"/>
                <a:gd name="T53" fmla="*/ 951 h 1490"/>
                <a:gd name="T54" fmla="*/ 793 w 1227"/>
                <a:gd name="T55" fmla="*/ 795 h 1490"/>
                <a:gd name="T56" fmla="*/ 910 w 1227"/>
                <a:gd name="T57" fmla="*/ 635 h 1490"/>
                <a:gd name="T58" fmla="*/ 978 w 1227"/>
                <a:gd name="T59" fmla="*/ 528 h 1490"/>
                <a:gd name="T60" fmla="*/ 1072 w 1227"/>
                <a:gd name="T61" fmla="*/ 504 h 1490"/>
                <a:gd name="T62" fmla="*/ 1177 w 1227"/>
                <a:gd name="T63" fmla="*/ 448 h 1490"/>
                <a:gd name="T64" fmla="*/ 1201 w 1227"/>
                <a:gd name="T65" fmla="*/ 346 h 1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27" h="1490">
                  <a:moveTo>
                    <a:pt x="1201" y="346"/>
                  </a:moveTo>
                  <a:cubicBezTo>
                    <a:pt x="1175" y="313"/>
                    <a:pt x="1183" y="270"/>
                    <a:pt x="1135" y="248"/>
                  </a:cubicBezTo>
                  <a:cubicBezTo>
                    <a:pt x="1087" y="226"/>
                    <a:pt x="1044" y="217"/>
                    <a:pt x="1050" y="193"/>
                  </a:cubicBezTo>
                  <a:cubicBezTo>
                    <a:pt x="1057" y="168"/>
                    <a:pt x="1116" y="135"/>
                    <a:pt x="1085" y="118"/>
                  </a:cubicBezTo>
                  <a:cubicBezTo>
                    <a:pt x="1055" y="102"/>
                    <a:pt x="1059" y="85"/>
                    <a:pt x="1028" y="92"/>
                  </a:cubicBezTo>
                  <a:cubicBezTo>
                    <a:pt x="998" y="100"/>
                    <a:pt x="950" y="113"/>
                    <a:pt x="919" y="94"/>
                  </a:cubicBezTo>
                  <a:cubicBezTo>
                    <a:pt x="889" y="76"/>
                    <a:pt x="878" y="20"/>
                    <a:pt x="838" y="48"/>
                  </a:cubicBezTo>
                  <a:cubicBezTo>
                    <a:pt x="799" y="76"/>
                    <a:pt x="806" y="80"/>
                    <a:pt x="784" y="102"/>
                  </a:cubicBezTo>
                  <a:cubicBezTo>
                    <a:pt x="762" y="124"/>
                    <a:pt x="744" y="154"/>
                    <a:pt x="718" y="130"/>
                  </a:cubicBezTo>
                  <a:cubicBezTo>
                    <a:pt x="692" y="105"/>
                    <a:pt x="707" y="100"/>
                    <a:pt x="723" y="89"/>
                  </a:cubicBezTo>
                  <a:cubicBezTo>
                    <a:pt x="738" y="78"/>
                    <a:pt x="758" y="63"/>
                    <a:pt x="747" y="44"/>
                  </a:cubicBezTo>
                  <a:cubicBezTo>
                    <a:pt x="736" y="26"/>
                    <a:pt x="714" y="0"/>
                    <a:pt x="696" y="17"/>
                  </a:cubicBezTo>
                  <a:cubicBezTo>
                    <a:pt x="679" y="33"/>
                    <a:pt x="668" y="61"/>
                    <a:pt x="644" y="72"/>
                  </a:cubicBezTo>
                  <a:cubicBezTo>
                    <a:pt x="621" y="83"/>
                    <a:pt x="597" y="108"/>
                    <a:pt x="578" y="92"/>
                  </a:cubicBezTo>
                  <a:cubicBezTo>
                    <a:pt x="571" y="100"/>
                    <a:pt x="563" y="106"/>
                    <a:pt x="554" y="113"/>
                  </a:cubicBezTo>
                  <a:cubicBezTo>
                    <a:pt x="537" y="128"/>
                    <a:pt x="515" y="135"/>
                    <a:pt x="504" y="120"/>
                  </a:cubicBezTo>
                  <a:cubicBezTo>
                    <a:pt x="493" y="105"/>
                    <a:pt x="482" y="102"/>
                    <a:pt x="447" y="102"/>
                  </a:cubicBezTo>
                  <a:cubicBezTo>
                    <a:pt x="412" y="102"/>
                    <a:pt x="410" y="105"/>
                    <a:pt x="408" y="126"/>
                  </a:cubicBezTo>
                  <a:cubicBezTo>
                    <a:pt x="406" y="146"/>
                    <a:pt x="393" y="157"/>
                    <a:pt x="354" y="157"/>
                  </a:cubicBezTo>
                  <a:cubicBezTo>
                    <a:pt x="314" y="157"/>
                    <a:pt x="332" y="165"/>
                    <a:pt x="319" y="181"/>
                  </a:cubicBezTo>
                  <a:cubicBezTo>
                    <a:pt x="305" y="198"/>
                    <a:pt x="286" y="219"/>
                    <a:pt x="244" y="241"/>
                  </a:cubicBezTo>
                  <a:cubicBezTo>
                    <a:pt x="203" y="263"/>
                    <a:pt x="190" y="259"/>
                    <a:pt x="161" y="257"/>
                  </a:cubicBezTo>
                  <a:cubicBezTo>
                    <a:pt x="133" y="256"/>
                    <a:pt x="135" y="269"/>
                    <a:pt x="131" y="280"/>
                  </a:cubicBezTo>
                  <a:cubicBezTo>
                    <a:pt x="126" y="291"/>
                    <a:pt x="122" y="300"/>
                    <a:pt x="87" y="307"/>
                  </a:cubicBezTo>
                  <a:cubicBezTo>
                    <a:pt x="67" y="312"/>
                    <a:pt x="54" y="333"/>
                    <a:pt x="46" y="350"/>
                  </a:cubicBezTo>
                  <a:cubicBezTo>
                    <a:pt x="60" y="353"/>
                    <a:pt x="74" y="356"/>
                    <a:pt x="83" y="363"/>
                  </a:cubicBezTo>
                  <a:cubicBezTo>
                    <a:pt x="109" y="385"/>
                    <a:pt x="122" y="415"/>
                    <a:pt x="113" y="433"/>
                  </a:cubicBezTo>
                  <a:cubicBezTo>
                    <a:pt x="105" y="452"/>
                    <a:pt x="148" y="489"/>
                    <a:pt x="144" y="537"/>
                  </a:cubicBezTo>
                  <a:cubicBezTo>
                    <a:pt x="139" y="585"/>
                    <a:pt x="87" y="611"/>
                    <a:pt x="43" y="648"/>
                  </a:cubicBezTo>
                  <a:cubicBezTo>
                    <a:pt x="0" y="686"/>
                    <a:pt x="17" y="730"/>
                    <a:pt x="48" y="771"/>
                  </a:cubicBezTo>
                  <a:cubicBezTo>
                    <a:pt x="78" y="812"/>
                    <a:pt x="96" y="800"/>
                    <a:pt x="96" y="834"/>
                  </a:cubicBezTo>
                  <a:cubicBezTo>
                    <a:pt x="96" y="867"/>
                    <a:pt x="109" y="875"/>
                    <a:pt x="109" y="912"/>
                  </a:cubicBezTo>
                  <a:cubicBezTo>
                    <a:pt x="109" y="949"/>
                    <a:pt x="153" y="952"/>
                    <a:pt x="174" y="975"/>
                  </a:cubicBezTo>
                  <a:cubicBezTo>
                    <a:pt x="196" y="997"/>
                    <a:pt x="192" y="1019"/>
                    <a:pt x="218" y="1041"/>
                  </a:cubicBezTo>
                  <a:cubicBezTo>
                    <a:pt x="244" y="1064"/>
                    <a:pt x="240" y="1060"/>
                    <a:pt x="192" y="1093"/>
                  </a:cubicBezTo>
                  <a:cubicBezTo>
                    <a:pt x="144" y="1127"/>
                    <a:pt x="174" y="1145"/>
                    <a:pt x="170" y="1186"/>
                  </a:cubicBezTo>
                  <a:cubicBezTo>
                    <a:pt x="166" y="1227"/>
                    <a:pt x="196" y="1253"/>
                    <a:pt x="209" y="1275"/>
                  </a:cubicBezTo>
                  <a:cubicBezTo>
                    <a:pt x="222" y="1297"/>
                    <a:pt x="266" y="1290"/>
                    <a:pt x="305" y="1267"/>
                  </a:cubicBezTo>
                  <a:cubicBezTo>
                    <a:pt x="345" y="1245"/>
                    <a:pt x="349" y="1245"/>
                    <a:pt x="367" y="1256"/>
                  </a:cubicBezTo>
                  <a:cubicBezTo>
                    <a:pt x="384" y="1267"/>
                    <a:pt x="393" y="1282"/>
                    <a:pt x="388" y="1304"/>
                  </a:cubicBezTo>
                  <a:cubicBezTo>
                    <a:pt x="384" y="1327"/>
                    <a:pt x="358" y="1345"/>
                    <a:pt x="310" y="1371"/>
                  </a:cubicBezTo>
                  <a:cubicBezTo>
                    <a:pt x="262" y="1397"/>
                    <a:pt x="271" y="1431"/>
                    <a:pt x="305" y="1460"/>
                  </a:cubicBezTo>
                  <a:cubicBezTo>
                    <a:pt x="340" y="1490"/>
                    <a:pt x="388" y="1464"/>
                    <a:pt x="432" y="1431"/>
                  </a:cubicBezTo>
                  <a:cubicBezTo>
                    <a:pt x="476" y="1397"/>
                    <a:pt x="528" y="1408"/>
                    <a:pt x="563" y="1379"/>
                  </a:cubicBezTo>
                  <a:cubicBezTo>
                    <a:pt x="598" y="1349"/>
                    <a:pt x="629" y="1405"/>
                    <a:pt x="664" y="1419"/>
                  </a:cubicBezTo>
                  <a:cubicBezTo>
                    <a:pt x="699" y="1434"/>
                    <a:pt x="672" y="1356"/>
                    <a:pt x="685" y="1327"/>
                  </a:cubicBezTo>
                  <a:cubicBezTo>
                    <a:pt x="688" y="1322"/>
                    <a:pt x="692" y="1319"/>
                    <a:pt x="697" y="1317"/>
                  </a:cubicBezTo>
                  <a:cubicBezTo>
                    <a:pt x="687" y="1301"/>
                    <a:pt x="676" y="1281"/>
                    <a:pt x="681" y="1269"/>
                  </a:cubicBezTo>
                  <a:cubicBezTo>
                    <a:pt x="690" y="1249"/>
                    <a:pt x="703" y="1236"/>
                    <a:pt x="705" y="1212"/>
                  </a:cubicBezTo>
                  <a:cubicBezTo>
                    <a:pt x="707" y="1188"/>
                    <a:pt x="699" y="1151"/>
                    <a:pt x="716" y="1130"/>
                  </a:cubicBezTo>
                  <a:cubicBezTo>
                    <a:pt x="734" y="1110"/>
                    <a:pt x="734" y="1097"/>
                    <a:pt x="742" y="1082"/>
                  </a:cubicBezTo>
                  <a:cubicBezTo>
                    <a:pt x="751" y="1067"/>
                    <a:pt x="764" y="1062"/>
                    <a:pt x="779" y="1045"/>
                  </a:cubicBezTo>
                  <a:cubicBezTo>
                    <a:pt x="795" y="1028"/>
                    <a:pt x="793" y="1030"/>
                    <a:pt x="786" y="1006"/>
                  </a:cubicBezTo>
                  <a:cubicBezTo>
                    <a:pt x="779" y="982"/>
                    <a:pt x="760" y="967"/>
                    <a:pt x="782" y="951"/>
                  </a:cubicBezTo>
                  <a:cubicBezTo>
                    <a:pt x="803" y="934"/>
                    <a:pt x="834" y="921"/>
                    <a:pt x="801" y="891"/>
                  </a:cubicBezTo>
                  <a:cubicBezTo>
                    <a:pt x="768" y="862"/>
                    <a:pt x="768" y="808"/>
                    <a:pt x="793" y="795"/>
                  </a:cubicBezTo>
                  <a:cubicBezTo>
                    <a:pt x="817" y="782"/>
                    <a:pt x="871" y="789"/>
                    <a:pt x="893" y="743"/>
                  </a:cubicBezTo>
                  <a:cubicBezTo>
                    <a:pt x="915" y="697"/>
                    <a:pt x="921" y="678"/>
                    <a:pt x="910" y="635"/>
                  </a:cubicBezTo>
                  <a:cubicBezTo>
                    <a:pt x="900" y="593"/>
                    <a:pt x="891" y="569"/>
                    <a:pt x="913" y="548"/>
                  </a:cubicBezTo>
                  <a:cubicBezTo>
                    <a:pt x="934" y="528"/>
                    <a:pt x="928" y="524"/>
                    <a:pt x="978" y="528"/>
                  </a:cubicBezTo>
                  <a:cubicBezTo>
                    <a:pt x="1028" y="532"/>
                    <a:pt x="996" y="537"/>
                    <a:pt x="1028" y="532"/>
                  </a:cubicBezTo>
                  <a:cubicBezTo>
                    <a:pt x="1061" y="526"/>
                    <a:pt x="1068" y="522"/>
                    <a:pt x="1072" y="504"/>
                  </a:cubicBezTo>
                  <a:cubicBezTo>
                    <a:pt x="1076" y="485"/>
                    <a:pt x="1072" y="484"/>
                    <a:pt x="1100" y="482"/>
                  </a:cubicBezTo>
                  <a:cubicBezTo>
                    <a:pt x="1129" y="480"/>
                    <a:pt x="1164" y="465"/>
                    <a:pt x="1177" y="448"/>
                  </a:cubicBezTo>
                  <a:cubicBezTo>
                    <a:pt x="1190" y="432"/>
                    <a:pt x="1192" y="421"/>
                    <a:pt x="1194" y="404"/>
                  </a:cubicBezTo>
                  <a:cubicBezTo>
                    <a:pt x="1197" y="387"/>
                    <a:pt x="1227" y="380"/>
                    <a:pt x="1201" y="346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" name="Freeform 23"/>
            <p:cNvSpPr>
              <a:spLocks/>
            </p:cNvSpPr>
            <p:nvPr/>
          </p:nvSpPr>
          <p:spPr bwMode="auto">
            <a:xfrm>
              <a:off x="3549" y="2533"/>
              <a:ext cx="896" cy="494"/>
            </a:xfrm>
            <a:custGeom>
              <a:avLst/>
              <a:gdLst>
                <a:gd name="T0" fmla="*/ 1488 w 1935"/>
                <a:gd name="T1" fmla="*/ 922 h 1066"/>
                <a:gd name="T2" fmla="*/ 1601 w 1935"/>
                <a:gd name="T3" fmla="*/ 883 h 1066"/>
                <a:gd name="T4" fmla="*/ 1711 w 1935"/>
                <a:gd name="T5" fmla="*/ 799 h 1066"/>
                <a:gd name="T6" fmla="*/ 1804 w 1935"/>
                <a:gd name="T7" fmla="*/ 744 h 1066"/>
                <a:gd name="T8" fmla="*/ 1911 w 1935"/>
                <a:gd name="T9" fmla="*/ 755 h 1066"/>
                <a:gd name="T10" fmla="*/ 1931 w 1935"/>
                <a:gd name="T11" fmla="*/ 731 h 1066"/>
                <a:gd name="T12" fmla="*/ 1846 w 1935"/>
                <a:gd name="T13" fmla="*/ 575 h 1066"/>
                <a:gd name="T14" fmla="*/ 1835 w 1935"/>
                <a:gd name="T15" fmla="*/ 431 h 1066"/>
                <a:gd name="T16" fmla="*/ 1753 w 1935"/>
                <a:gd name="T17" fmla="*/ 402 h 1066"/>
                <a:gd name="T18" fmla="*/ 1671 w 1935"/>
                <a:gd name="T19" fmla="*/ 360 h 1066"/>
                <a:gd name="T20" fmla="*/ 1609 w 1935"/>
                <a:gd name="T21" fmla="*/ 338 h 1066"/>
                <a:gd name="T22" fmla="*/ 1498 w 1935"/>
                <a:gd name="T23" fmla="*/ 345 h 1066"/>
                <a:gd name="T24" fmla="*/ 1374 w 1935"/>
                <a:gd name="T25" fmla="*/ 296 h 1066"/>
                <a:gd name="T26" fmla="*/ 1276 w 1935"/>
                <a:gd name="T27" fmla="*/ 242 h 1066"/>
                <a:gd name="T28" fmla="*/ 1244 w 1935"/>
                <a:gd name="T29" fmla="*/ 156 h 1066"/>
                <a:gd name="T30" fmla="*/ 1151 w 1935"/>
                <a:gd name="T31" fmla="*/ 181 h 1066"/>
                <a:gd name="T32" fmla="*/ 1041 w 1935"/>
                <a:gd name="T33" fmla="*/ 192 h 1066"/>
                <a:gd name="T34" fmla="*/ 843 w 1935"/>
                <a:gd name="T35" fmla="*/ 187 h 1066"/>
                <a:gd name="T36" fmla="*/ 675 w 1935"/>
                <a:gd name="T37" fmla="*/ 103 h 1066"/>
                <a:gd name="T38" fmla="*/ 562 w 1935"/>
                <a:gd name="T39" fmla="*/ 19 h 1066"/>
                <a:gd name="T40" fmla="*/ 422 w 1935"/>
                <a:gd name="T41" fmla="*/ 47 h 1066"/>
                <a:gd name="T42" fmla="*/ 295 w 1935"/>
                <a:gd name="T43" fmla="*/ 27 h 1066"/>
                <a:gd name="T44" fmla="*/ 282 w 1935"/>
                <a:gd name="T45" fmla="*/ 71 h 1066"/>
                <a:gd name="T46" fmla="*/ 374 w 1935"/>
                <a:gd name="T47" fmla="*/ 121 h 1066"/>
                <a:gd name="T48" fmla="*/ 308 w 1935"/>
                <a:gd name="T49" fmla="*/ 197 h 1066"/>
                <a:gd name="T50" fmla="*/ 258 w 1935"/>
                <a:gd name="T51" fmla="*/ 286 h 1066"/>
                <a:gd name="T52" fmla="*/ 293 w 1935"/>
                <a:gd name="T53" fmla="*/ 379 h 1066"/>
                <a:gd name="T54" fmla="*/ 380 w 1935"/>
                <a:gd name="T55" fmla="*/ 433 h 1066"/>
                <a:gd name="T56" fmla="*/ 443 w 1935"/>
                <a:gd name="T57" fmla="*/ 592 h 1066"/>
                <a:gd name="T58" fmla="*/ 315 w 1935"/>
                <a:gd name="T59" fmla="*/ 670 h 1066"/>
                <a:gd name="T60" fmla="*/ 138 w 1935"/>
                <a:gd name="T61" fmla="*/ 711 h 1066"/>
                <a:gd name="T62" fmla="*/ 36 w 1935"/>
                <a:gd name="T63" fmla="*/ 747 h 1066"/>
                <a:gd name="T64" fmla="*/ 66 w 1935"/>
                <a:gd name="T65" fmla="*/ 831 h 1066"/>
                <a:gd name="T66" fmla="*/ 135 w 1935"/>
                <a:gd name="T67" fmla="*/ 942 h 1066"/>
                <a:gd name="T68" fmla="*/ 207 w 1935"/>
                <a:gd name="T69" fmla="*/ 1034 h 1066"/>
                <a:gd name="T70" fmla="*/ 291 w 1935"/>
                <a:gd name="T71" fmla="*/ 972 h 1066"/>
                <a:gd name="T72" fmla="*/ 479 w 1935"/>
                <a:gd name="T73" fmla="*/ 924 h 1066"/>
                <a:gd name="T74" fmla="*/ 544 w 1935"/>
                <a:gd name="T75" fmla="*/ 838 h 1066"/>
                <a:gd name="T76" fmla="*/ 741 w 1935"/>
                <a:gd name="T77" fmla="*/ 820 h 1066"/>
                <a:gd name="T78" fmla="*/ 955 w 1935"/>
                <a:gd name="T79" fmla="*/ 879 h 1066"/>
                <a:gd name="T80" fmla="*/ 1134 w 1935"/>
                <a:gd name="T81" fmla="*/ 823 h 1066"/>
                <a:gd name="T82" fmla="*/ 1195 w 1935"/>
                <a:gd name="T83" fmla="*/ 909 h 1066"/>
                <a:gd name="T84" fmla="*/ 1330 w 1935"/>
                <a:gd name="T85" fmla="*/ 842 h 1066"/>
                <a:gd name="T86" fmla="*/ 1403 w 1935"/>
                <a:gd name="T87" fmla="*/ 992 h 1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35" h="1066">
                  <a:moveTo>
                    <a:pt x="1444" y="949"/>
                  </a:moveTo>
                  <a:cubicBezTo>
                    <a:pt x="1479" y="942"/>
                    <a:pt x="1483" y="933"/>
                    <a:pt x="1488" y="922"/>
                  </a:cubicBezTo>
                  <a:cubicBezTo>
                    <a:pt x="1492" y="911"/>
                    <a:pt x="1490" y="898"/>
                    <a:pt x="1518" y="899"/>
                  </a:cubicBezTo>
                  <a:cubicBezTo>
                    <a:pt x="1547" y="901"/>
                    <a:pt x="1560" y="905"/>
                    <a:pt x="1601" y="883"/>
                  </a:cubicBezTo>
                  <a:cubicBezTo>
                    <a:pt x="1643" y="861"/>
                    <a:pt x="1662" y="840"/>
                    <a:pt x="1676" y="823"/>
                  </a:cubicBezTo>
                  <a:cubicBezTo>
                    <a:pt x="1689" y="807"/>
                    <a:pt x="1671" y="799"/>
                    <a:pt x="1711" y="799"/>
                  </a:cubicBezTo>
                  <a:cubicBezTo>
                    <a:pt x="1750" y="799"/>
                    <a:pt x="1763" y="788"/>
                    <a:pt x="1765" y="768"/>
                  </a:cubicBezTo>
                  <a:cubicBezTo>
                    <a:pt x="1767" y="747"/>
                    <a:pt x="1769" y="744"/>
                    <a:pt x="1804" y="744"/>
                  </a:cubicBezTo>
                  <a:cubicBezTo>
                    <a:pt x="1839" y="744"/>
                    <a:pt x="1850" y="747"/>
                    <a:pt x="1861" y="762"/>
                  </a:cubicBezTo>
                  <a:cubicBezTo>
                    <a:pt x="1872" y="777"/>
                    <a:pt x="1894" y="770"/>
                    <a:pt x="1911" y="755"/>
                  </a:cubicBezTo>
                  <a:cubicBezTo>
                    <a:pt x="1920" y="748"/>
                    <a:pt x="1928" y="742"/>
                    <a:pt x="1935" y="734"/>
                  </a:cubicBezTo>
                  <a:cubicBezTo>
                    <a:pt x="1934" y="733"/>
                    <a:pt x="1932" y="732"/>
                    <a:pt x="1931" y="731"/>
                  </a:cubicBezTo>
                  <a:cubicBezTo>
                    <a:pt x="1911" y="709"/>
                    <a:pt x="1918" y="690"/>
                    <a:pt x="1896" y="660"/>
                  </a:cubicBezTo>
                  <a:cubicBezTo>
                    <a:pt x="1874" y="631"/>
                    <a:pt x="1842" y="620"/>
                    <a:pt x="1846" y="575"/>
                  </a:cubicBezTo>
                  <a:cubicBezTo>
                    <a:pt x="1850" y="531"/>
                    <a:pt x="1804" y="512"/>
                    <a:pt x="1828" y="490"/>
                  </a:cubicBezTo>
                  <a:cubicBezTo>
                    <a:pt x="1852" y="468"/>
                    <a:pt x="1870" y="453"/>
                    <a:pt x="1835" y="431"/>
                  </a:cubicBezTo>
                  <a:cubicBezTo>
                    <a:pt x="1800" y="408"/>
                    <a:pt x="1813" y="420"/>
                    <a:pt x="1787" y="408"/>
                  </a:cubicBezTo>
                  <a:cubicBezTo>
                    <a:pt x="1761" y="396"/>
                    <a:pt x="1769" y="395"/>
                    <a:pt x="1753" y="402"/>
                  </a:cubicBezTo>
                  <a:cubicBezTo>
                    <a:pt x="1737" y="408"/>
                    <a:pt x="1729" y="415"/>
                    <a:pt x="1714" y="398"/>
                  </a:cubicBezTo>
                  <a:cubicBezTo>
                    <a:pt x="1698" y="381"/>
                    <a:pt x="1685" y="358"/>
                    <a:pt x="1671" y="360"/>
                  </a:cubicBezTo>
                  <a:cubicBezTo>
                    <a:pt x="1657" y="362"/>
                    <a:pt x="1650" y="354"/>
                    <a:pt x="1644" y="345"/>
                  </a:cubicBezTo>
                  <a:cubicBezTo>
                    <a:pt x="1637" y="337"/>
                    <a:pt x="1626" y="316"/>
                    <a:pt x="1609" y="338"/>
                  </a:cubicBezTo>
                  <a:cubicBezTo>
                    <a:pt x="1591" y="360"/>
                    <a:pt x="1579" y="359"/>
                    <a:pt x="1562" y="361"/>
                  </a:cubicBezTo>
                  <a:cubicBezTo>
                    <a:pt x="1545" y="363"/>
                    <a:pt x="1512" y="358"/>
                    <a:pt x="1498" y="345"/>
                  </a:cubicBezTo>
                  <a:cubicBezTo>
                    <a:pt x="1483" y="332"/>
                    <a:pt x="1447" y="281"/>
                    <a:pt x="1421" y="277"/>
                  </a:cubicBezTo>
                  <a:cubicBezTo>
                    <a:pt x="1395" y="272"/>
                    <a:pt x="1398" y="285"/>
                    <a:pt x="1374" y="296"/>
                  </a:cubicBezTo>
                  <a:cubicBezTo>
                    <a:pt x="1350" y="307"/>
                    <a:pt x="1336" y="308"/>
                    <a:pt x="1318" y="293"/>
                  </a:cubicBezTo>
                  <a:cubicBezTo>
                    <a:pt x="1301" y="279"/>
                    <a:pt x="1273" y="263"/>
                    <a:pt x="1276" y="242"/>
                  </a:cubicBezTo>
                  <a:cubicBezTo>
                    <a:pt x="1279" y="220"/>
                    <a:pt x="1285" y="212"/>
                    <a:pt x="1280" y="195"/>
                  </a:cubicBezTo>
                  <a:cubicBezTo>
                    <a:pt x="1276" y="179"/>
                    <a:pt x="1264" y="146"/>
                    <a:pt x="1244" y="156"/>
                  </a:cubicBezTo>
                  <a:cubicBezTo>
                    <a:pt x="1225" y="166"/>
                    <a:pt x="1228" y="197"/>
                    <a:pt x="1196" y="204"/>
                  </a:cubicBezTo>
                  <a:cubicBezTo>
                    <a:pt x="1164" y="210"/>
                    <a:pt x="1164" y="190"/>
                    <a:pt x="1151" y="181"/>
                  </a:cubicBezTo>
                  <a:cubicBezTo>
                    <a:pt x="1138" y="173"/>
                    <a:pt x="1126" y="169"/>
                    <a:pt x="1101" y="172"/>
                  </a:cubicBezTo>
                  <a:cubicBezTo>
                    <a:pt x="1076" y="175"/>
                    <a:pt x="1065" y="182"/>
                    <a:pt x="1041" y="192"/>
                  </a:cubicBezTo>
                  <a:cubicBezTo>
                    <a:pt x="1017" y="203"/>
                    <a:pt x="970" y="210"/>
                    <a:pt x="933" y="205"/>
                  </a:cubicBezTo>
                  <a:cubicBezTo>
                    <a:pt x="896" y="201"/>
                    <a:pt x="893" y="203"/>
                    <a:pt x="843" y="187"/>
                  </a:cubicBezTo>
                  <a:cubicBezTo>
                    <a:pt x="794" y="171"/>
                    <a:pt x="791" y="159"/>
                    <a:pt x="768" y="157"/>
                  </a:cubicBezTo>
                  <a:cubicBezTo>
                    <a:pt x="745" y="155"/>
                    <a:pt x="693" y="127"/>
                    <a:pt x="675" y="103"/>
                  </a:cubicBezTo>
                  <a:cubicBezTo>
                    <a:pt x="660" y="84"/>
                    <a:pt x="619" y="27"/>
                    <a:pt x="580" y="0"/>
                  </a:cubicBezTo>
                  <a:cubicBezTo>
                    <a:pt x="575" y="6"/>
                    <a:pt x="568" y="12"/>
                    <a:pt x="562" y="19"/>
                  </a:cubicBezTo>
                  <a:cubicBezTo>
                    <a:pt x="540" y="41"/>
                    <a:pt x="540" y="53"/>
                    <a:pt x="498" y="34"/>
                  </a:cubicBezTo>
                  <a:cubicBezTo>
                    <a:pt x="457" y="15"/>
                    <a:pt x="455" y="47"/>
                    <a:pt x="422" y="47"/>
                  </a:cubicBezTo>
                  <a:cubicBezTo>
                    <a:pt x="389" y="47"/>
                    <a:pt x="385" y="47"/>
                    <a:pt x="378" y="30"/>
                  </a:cubicBezTo>
                  <a:cubicBezTo>
                    <a:pt x="372" y="14"/>
                    <a:pt x="356" y="34"/>
                    <a:pt x="295" y="27"/>
                  </a:cubicBezTo>
                  <a:cubicBezTo>
                    <a:pt x="234" y="19"/>
                    <a:pt x="243" y="41"/>
                    <a:pt x="243" y="53"/>
                  </a:cubicBezTo>
                  <a:cubicBezTo>
                    <a:pt x="243" y="64"/>
                    <a:pt x="256" y="71"/>
                    <a:pt x="282" y="71"/>
                  </a:cubicBezTo>
                  <a:cubicBezTo>
                    <a:pt x="308" y="71"/>
                    <a:pt x="306" y="88"/>
                    <a:pt x="304" y="106"/>
                  </a:cubicBezTo>
                  <a:cubicBezTo>
                    <a:pt x="302" y="125"/>
                    <a:pt x="343" y="119"/>
                    <a:pt x="374" y="121"/>
                  </a:cubicBezTo>
                  <a:cubicBezTo>
                    <a:pt x="404" y="123"/>
                    <a:pt x="391" y="156"/>
                    <a:pt x="389" y="179"/>
                  </a:cubicBezTo>
                  <a:cubicBezTo>
                    <a:pt x="387" y="201"/>
                    <a:pt x="343" y="199"/>
                    <a:pt x="308" y="197"/>
                  </a:cubicBezTo>
                  <a:cubicBezTo>
                    <a:pt x="273" y="195"/>
                    <a:pt x="276" y="223"/>
                    <a:pt x="260" y="243"/>
                  </a:cubicBezTo>
                  <a:cubicBezTo>
                    <a:pt x="245" y="264"/>
                    <a:pt x="238" y="271"/>
                    <a:pt x="258" y="286"/>
                  </a:cubicBezTo>
                  <a:cubicBezTo>
                    <a:pt x="278" y="301"/>
                    <a:pt x="293" y="318"/>
                    <a:pt x="300" y="336"/>
                  </a:cubicBezTo>
                  <a:cubicBezTo>
                    <a:pt x="303" y="345"/>
                    <a:pt x="298" y="363"/>
                    <a:pt x="293" y="379"/>
                  </a:cubicBezTo>
                  <a:cubicBezTo>
                    <a:pt x="323" y="376"/>
                    <a:pt x="354" y="385"/>
                    <a:pt x="377" y="383"/>
                  </a:cubicBezTo>
                  <a:cubicBezTo>
                    <a:pt x="407" y="381"/>
                    <a:pt x="384" y="414"/>
                    <a:pt x="380" y="433"/>
                  </a:cubicBezTo>
                  <a:cubicBezTo>
                    <a:pt x="377" y="453"/>
                    <a:pt x="410" y="461"/>
                    <a:pt x="426" y="492"/>
                  </a:cubicBezTo>
                  <a:cubicBezTo>
                    <a:pt x="443" y="522"/>
                    <a:pt x="443" y="556"/>
                    <a:pt x="443" y="592"/>
                  </a:cubicBezTo>
                  <a:cubicBezTo>
                    <a:pt x="443" y="628"/>
                    <a:pt x="407" y="631"/>
                    <a:pt x="390" y="620"/>
                  </a:cubicBezTo>
                  <a:cubicBezTo>
                    <a:pt x="374" y="608"/>
                    <a:pt x="331" y="650"/>
                    <a:pt x="315" y="670"/>
                  </a:cubicBezTo>
                  <a:cubicBezTo>
                    <a:pt x="298" y="689"/>
                    <a:pt x="249" y="703"/>
                    <a:pt x="226" y="703"/>
                  </a:cubicBezTo>
                  <a:cubicBezTo>
                    <a:pt x="203" y="703"/>
                    <a:pt x="171" y="703"/>
                    <a:pt x="138" y="711"/>
                  </a:cubicBezTo>
                  <a:cubicBezTo>
                    <a:pt x="105" y="720"/>
                    <a:pt x="89" y="722"/>
                    <a:pt x="89" y="722"/>
                  </a:cubicBezTo>
                  <a:cubicBezTo>
                    <a:pt x="89" y="722"/>
                    <a:pt x="72" y="725"/>
                    <a:pt x="36" y="747"/>
                  </a:cubicBezTo>
                  <a:cubicBezTo>
                    <a:pt x="0" y="770"/>
                    <a:pt x="40" y="781"/>
                    <a:pt x="66" y="789"/>
                  </a:cubicBezTo>
                  <a:cubicBezTo>
                    <a:pt x="92" y="797"/>
                    <a:pt x="69" y="809"/>
                    <a:pt x="66" y="831"/>
                  </a:cubicBezTo>
                  <a:cubicBezTo>
                    <a:pt x="63" y="853"/>
                    <a:pt x="66" y="878"/>
                    <a:pt x="82" y="898"/>
                  </a:cubicBezTo>
                  <a:cubicBezTo>
                    <a:pt x="99" y="917"/>
                    <a:pt x="99" y="923"/>
                    <a:pt x="135" y="942"/>
                  </a:cubicBezTo>
                  <a:cubicBezTo>
                    <a:pt x="171" y="962"/>
                    <a:pt x="158" y="945"/>
                    <a:pt x="154" y="975"/>
                  </a:cubicBezTo>
                  <a:cubicBezTo>
                    <a:pt x="151" y="1006"/>
                    <a:pt x="207" y="1034"/>
                    <a:pt x="207" y="1034"/>
                  </a:cubicBezTo>
                  <a:cubicBezTo>
                    <a:pt x="261" y="1066"/>
                    <a:pt x="261" y="1066"/>
                    <a:pt x="261" y="1066"/>
                  </a:cubicBezTo>
                  <a:cubicBezTo>
                    <a:pt x="263" y="1024"/>
                    <a:pt x="275" y="1005"/>
                    <a:pt x="291" y="972"/>
                  </a:cubicBezTo>
                  <a:cubicBezTo>
                    <a:pt x="308" y="935"/>
                    <a:pt x="361" y="916"/>
                    <a:pt x="400" y="898"/>
                  </a:cubicBezTo>
                  <a:cubicBezTo>
                    <a:pt x="439" y="879"/>
                    <a:pt x="457" y="942"/>
                    <a:pt x="479" y="924"/>
                  </a:cubicBezTo>
                  <a:cubicBezTo>
                    <a:pt x="501" y="905"/>
                    <a:pt x="514" y="927"/>
                    <a:pt x="562" y="931"/>
                  </a:cubicBezTo>
                  <a:cubicBezTo>
                    <a:pt x="610" y="935"/>
                    <a:pt x="575" y="868"/>
                    <a:pt x="544" y="838"/>
                  </a:cubicBezTo>
                  <a:cubicBezTo>
                    <a:pt x="514" y="809"/>
                    <a:pt x="597" y="798"/>
                    <a:pt x="636" y="798"/>
                  </a:cubicBezTo>
                  <a:cubicBezTo>
                    <a:pt x="675" y="798"/>
                    <a:pt x="715" y="805"/>
                    <a:pt x="741" y="820"/>
                  </a:cubicBezTo>
                  <a:cubicBezTo>
                    <a:pt x="767" y="835"/>
                    <a:pt x="802" y="838"/>
                    <a:pt x="872" y="827"/>
                  </a:cubicBezTo>
                  <a:cubicBezTo>
                    <a:pt x="942" y="816"/>
                    <a:pt x="924" y="849"/>
                    <a:pt x="955" y="879"/>
                  </a:cubicBezTo>
                  <a:cubicBezTo>
                    <a:pt x="985" y="909"/>
                    <a:pt x="1016" y="894"/>
                    <a:pt x="1064" y="875"/>
                  </a:cubicBezTo>
                  <a:cubicBezTo>
                    <a:pt x="1112" y="857"/>
                    <a:pt x="1103" y="835"/>
                    <a:pt x="1134" y="823"/>
                  </a:cubicBezTo>
                  <a:cubicBezTo>
                    <a:pt x="1164" y="812"/>
                    <a:pt x="1173" y="846"/>
                    <a:pt x="1156" y="857"/>
                  </a:cubicBezTo>
                  <a:cubicBezTo>
                    <a:pt x="1138" y="868"/>
                    <a:pt x="1151" y="886"/>
                    <a:pt x="1195" y="909"/>
                  </a:cubicBezTo>
                  <a:cubicBezTo>
                    <a:pt x="1239" y="931"/>
                    <a:pt x="1226" y="879"/>
                    <a:pt x="1256" y="846"/>
                  </a:cubicBezTo>
                  <a:cubicBezTo>
                    <a:pt x="1287" y="812"/>
                    <a:pt x="1291" y="820"/>
                    <a:pt x="1330" y="842"/>
                  </a:cubicBezTo>
                  <a:cubicBezTo>
                    <a:pt x="1370" y="864"/>
                    <a:pt x="1339" y="890"/>
                    <a:pt x="1339" y="946"/>
                  </a:cubicBezTo>
                  <a:cubicBezTo>
                    <a:pt x="1339" y="983"/>
                    <a:pt x="1373" y="987"/>
                    <a:pt x="1403" y="992"/>
                  </a:cubicBezTo>
                  <a:cubicBezTo>
                    <a:pt x="1411" y="975"/>
                    <a:pt x="1424" y="954"/>
                    <a:pt x="1444" y="949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" name="Freeform 24"/>
            <p:cNvSpPr>
              <a:spLocks/>
            </p:cNvSpPr>
            <p:nvPr/>
          </p:nvSpPr>
          <p:spPr bwMode="auto">
            <a:xfrm>
              <a:off x="4490" y="2997"/>
              <a:ext cx="504" cy="574"/>
            </a:xfrm>
            <a:custGeom>
              <a:avLst/>
              <a:gdLst>
                <a:gd name="T0" fmla="*/ 1034 w 1088"/>
                <a:gd name="T1" fmla="*/ 190 h 1239"/>
                <a:gd name="T2" fmla="*/ 958 w 1088"/>
                <a:gd name="T3" fmla="*/ 203 h 1239"/>
                <a:gd name="T4" fmla="*/ 901 w 1088"/>
                <a:gd name="T5" fmla="*/ 215 h 1239"/>
                <a:gd name="T6" fmla="*/ 854 w 1088"/>
                <a:gd name="T7" fmla="*/ 167 h 1239"/>
                <a:gd name="T8" fmla="*/ 806 w 1088"/>
                <a:gd name="T9" fmla="*/ 176 h 1239"/>
                <a:gd name="T10" fmla="*/ 765 w 1088"/>
                <a:gd name="T11" fmla="*/ 212 h 1239"/>
                <a:gd name="T12" fmla="*/ 698 w 1088"/>
                <a:gd name="T13" fmla="*/ 207 h 1239"/>
                <a:gd name="T14" fmla="*/ 662 w 1088"/>
                <a:gd name="T15" fmla="*/ 158 h 1239"/>
                <a:gd name="T16" fmla="*/ 619 w 1088"/>
                <a:gd name="T17" fmla="*/ 101 h 1239"/>
                <a:gd name="T18" fmla="*/ 614 w 1088"/>
                <a:gd name="T19" fmla="*/ 35 h 1239"/>
                <a:gd name="T20" fmla="*/ 560 w 1088"/>
                <a:gd name="T21" fmla="*/ 30 h 1239"/>
                <a:gd name="T22" fmla="*/ 524 w 1088"/>
                <a:gd name="T23" fmla="*/ 33 h 1239"/>
                <a:gd name="T24" fmla="*/ 518 w 1088"/>
                <a:gd name="T25" fmla="*/ 44 h 1239"/>
                <a:gd name="T26" fmla="*/ 501 w 1088"/>
                <a:gd name="T27" fmla="*/ 88 h 1239"/>
                <a:gd name="T28" fmla="*/ 424 w 1088"/>
                <a:gd name="T29" fmla="*/ 122 h 1239"/>
                <a:gd name="T30" fmla="*/ 396 w 1088"/>
                <a:gd name="T31" fmla="*/ 144 h 1239"/>
                <a:gd name="T32" fmla="*/ 352 w 1088"/>
                <a:gd name="T33" fmla="*/ 172 h 1239"/>
                <a:gd name="T34" fmla="*/ 302 w 1088"/>
                <a:gd name="T35" fmla="*/ 168 h 1239"/>
                <a:gd name="T36" fmla="*/ 237 w 1088"/>
                <a:gd name="T37" fmla="*/ 188 h 1239"/>
                <a:gd name="T38" fmla="*/ 234 w 1088"/>
                <a:gd name="T39" fmla="*/ 275 h 1239"/>
                <a:gd name="T40" fmla="*/ 217 w 1088"/>
                <a:gd name="T41" fmla="*/ 383 h 1239"/>
                <a:gd name="T42" fmla="*/ 117 w 1088"/>
                <a:gd name="T43" fmla="*/ 435 h 1239"/>
                <a:gd name="T44" fmla="*/ 125 w 1088"/>
                <a:gd name="T45" fmla="*/ 531 h 1239"/>
                <a:gd name="T46" fmla="*/ 106 w 1088"/>
                <a:gd name="T47" fmla="*/ 591 h 1239"/>
                <a:gd name="T48" fmla="*/ 110 w 1088"/>
                <a:gd name="T49" fmla="*/ 646 h 1239"/>
                <a:gd name="T50" fmla="*/ 103 w 1088"/>
                <a:gd name="T51" fmla="*/ 685 h 1239"/>
                <a:gd name="T52" fmla="*/ 66 w 1088"/>
                <a:gd name="T53" fmla="*/ 722 h 1239"/>
                <a:gd name="T54" fmla="*/ 40 w 1088"/>
                <a:gd name="T55" fmla="*/ 770 h 1239"/>
                <a:gd name="T56" fmla="*/ 29 w 1088"/>
                <a:gd name="T57" fmla="*/ 852 h 1239"/>
                <a:gd name="T58" fmla="*/ 5 w 1088"/>
                <a:gd name="T59" fmla="*/ 909 h 1239"/>
                <a:gd name="T60" fmla="*/ 21 w 1088"/>
                <a:gd name="T61" fmla="*/ 957 h 1239"/>
                <a:gd name="T62" fmla="*/ 119 w 1088"/>
                <a:gd name="T63" fmla="*/ 967 h 1239"/>
                <a:gd name="T64" fmla="*/ 175 w 1088"/>
                <a:gd name="T65" fmla="*/ 1000 h 1239"/>
                <a:gd name="T66" fmla="*/ 245 w 1088"/>
                <a:gd name="T67" fmla="*/ 1004 h 1239"/>
                <a:gd name="T68" fmla="*/ 280 w 1088"/>
                <a:gd name="T69" fmla="*/ 1037 h 1239"/>
                <a:gd name="T70" fmla="*/ 341 w 1088"/>
                <a:gd name="T71" fmla="*/ 1152 h 1239"/>
                <a:gd name="T72" fmla="*/ 391 w 1088"/>
                <a:gd name="T73" fmla="*/ 1239 h 1239"/>
                <a:gd name="T74" fmla="*/ 438 w 1088"/>
                <a:gd name="T75" fmla="*/ 1211 h 1239"/>
                <a:gd name="T76" fmla="*/ 538 w 1088"/>
                <a:gd name="T77" fmla="*/ 1145 h 1239"/>
                <a:gd name="T78" fmla="*/ 617 w 1088"/>
                <a:gd name="T79" fmla="*/ 1033 h 1239"/>
                <a:gd name="T80" fmla="*/ 652 w 1088"/>
                <a:gd name="T81" fmla="*/ 967 h 1239"/>
                <a:gd name="T82" fmla="*/ 752 w 1088"/>
                <a:gd name="T83" fmla="*/ 919 h 1239"/>
                <a:gd name="T84" fmla="*/ 813 w 1088"/>
                <a:gd name="T85" fmla="*/ 859 h 1239"/>
                <a:gd name="T86" fmla="*/ 813 w 1088"/>
                <a:gd name="T87" fmla="*/ 781 h 1239"/>
                <a:gd name="T88" fmla="*/ 861 w 1088"/>
                <a:gd name="T89" fmla="*/ 730 h 1239"/>
                <a:gd name="T90" fmla="*/ 905 w 1088"/>
                <a:gd name="T91" fmla="*/ 678 h 1239"/>
                <a:gd name="T92" fmla="*/ 944 w 1088"/>
                <a:gd name="T93" fmla="*/ 600 h 1239"/>
                <a:gd name="T94" fmla="*/ 922 w 1088"/>
                <a:gd name="T95" fmla="*/ 515 h 1239"/>
                <a:gd name="T96" fmla="*/ 936 w 1088"/>
                <a:gd name="T97" fmla="*/ 448 h 1239"/>
                <a:gd name="T98" fmla="*/ 914 w 1088"/>
                <a:gd name="T99" fmla="*/ 377 h 1239"/>
                <a:gd name="T100" fmla="*/ 997 w 1088"/>
                <a:gd name="T101" fmla="*/ 351 h 1239"/>
                <a:gd name="T102" fmla="*/ 1062 w 1088"/>
                <a:gd name="T103" fmla="*/ 259 h 1239"/>
                <a:gd name="T104" fmla="*/ 1088 w 1088"/>
                <a:gd name="T105" fmla="*/ 225 h 1239"/>
                <a:gd name="T106" fmla="*/ 1081 w 1088"/>
                <a:gd name="T107" fmla="*/ 224 h 1239"/>
                <a:gd name="T108" fmla="*/ 1034 w 1088"/>
                <a:gd name="T109" fmla="*/ 190 h 1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88" h="1239">
                  <a:moveTo>
                    <a:pt x="1034" y="190"/>
                  </a:moveTo>
                  <a:cubicBezTo>
                    <a:pt x="1024" y="168"/>
                    <a:pt x="985" y="192"/>
                    <a:pt x="958" y="203"/>
                  </a:cubicBezTo>
                  <a:cubicBezTo>
                    <a:pt x="932" y="214"/>
                    <a:pt x="932" y="219"/>
                    <a:pt x="901" y="215"/>
                  </a:cubicBezTo>
                  <a:cubicBezTo>
                    <a:pt x="870" y="211"/>
                    <a:pt x="875" y="201"/>
                    <a:pt x="854" y="167"/>
                  </a:cubicBezTo>
                  <a:cubicBezTo>
                    <a:pt x="832" y="132"/>
                    <a:pt x="816" y="157"/>
                    <a:pt x="806" y="176"/>
                  </a:cubicBezTo>
                  <a:cubicBezTo>
                    <a:pt x="796" y="196"/>
                    <a:pt x="782" y="200"/>
                    <a:pt x="765" y="212"/>
                  </a:cubicBezTo>
                  <a:cubicBezTo>
                    <a:pt x="749" y="225"/>
                    <a:pt x="719" y="217"/>
                    <a:pt x="698" y="207"/>
                  </a:cubicBezTo>
                  <a:cubicBezTo>
                    <a:pt x="677" y="197"/>
                    <a:pt x="667" y="179"/>
                    <a:pt x="662" y="158"/>
                  </a:cubicBezTo>
                  <a:cubicBezTo>
                    <a:pt x="657" y="137"/>
                    <a:pt x="639" y="117"/>
                    <a:pt x="619" y="101"/>
                  </a:cubicBezTo>
                  <a:cubicBezTo>
                    <a:pt x="600" y="86"/>
                    <a:pt x="613" y="69"/>
                    <a:pt x="614" y="35"/>
                  </a:cubicBezTo>
                  <a:cubicBezTo>
                    <a:pt x="616" y="0"/>
                    <a:pt x="578" y="21"/>
                    <a:pt x="560" y="30"/>
                  </a:cubicBezTo>
                  <a:cubicBezTo>
                    <a:pt x="552" y="35"/>
                    <a:pt x="537" y="35"/>
                    <a:pt x="524" y="33"/>
                  </a:cubicBezTo>
                  <a:cubicBezTo>
                    <a:pt x="521" y="36"/>
                    <a:pt x="519" y="40"/>
                    <a:pt x="518" y="44"/>
                  </a:cubicBezTo>
                  <a:cubicBezTo>
                    <a:pt x="516" y="61"/>
                    <a:pt x="514" y="72"/>
                    <a:pt x="501" y="88"/>
                  </a:cubicBezTo>
                  <a:cubicBezTo>
                    <a:pt x="488" y="105"/>
                    <a:pt x="453" y="120"/>
                    <a:pt x="424" y="122"/>
                  </a:cubicBezTo>
                  <a:cubicBezTo>
                    <a:pt x="396" y="124"/>
                    <a:pt x="400" y="125"/>
                    <a:pt x="396" y="144"/>
                  </a:cubicBezTo>
                  <a:cubicBezTo>
                    <a:pt x="392" y="162"/>
                    <a:pt x="385" y="166"/>
                    <a:pt x="352" y="172"/>
                  </a:cubicBezTo>
                  <a:cubicBezTo>
                    <a:pt x="320" y="177"/>
                    <a:pt x="352" y="172"/>
                    <a:pt x="302" y="168"/>
                  </a:cubicBezTo>
                  <a:cubicBezTo>
                    <a:pt x="252" y="164"/>
                    <a:pt x="258" y="168"/>
                    <a:pt x="237" y="188"/>
                  </a:cubicBezTo>
                  <a:cubicBezTo>
                    <a:pt x="215" y="209"/>
                    <a:pt x="224" y="233"/>
                    <a:pt x="234" y="275"/>
                  </a:cubicBezTo>
                  <a:cubicBezTo>
                    <a:pt x="245" y="318"/>
                    <a:pt x="239" y="337"/>
                    <a:pt x="217" y="383"/>
                  </a:cubicBezTo>
                  <a:cubicBezTo>
                    <a:pt x="195" y="429"/>
                    <a:pt x="141" y="422"/>
                    <a:pt x="117" y="435"/>
                  </a:cubicBezTo>
                  <a:cubicBezTo>
                    <a:pt x="92" y="448"/>
                    <a:pt x="92" y="502"/>
                    <a:pt x="125" y="531"/>
                  </a:cubicBezTo>
                  <a:cubicBezTo>
                    <a:pt x="158" y="561"/>
                    <a:pt x="127" y="574"/>
                    <a:pt x="106" y="591"/>
                  </a:cubicBezTo>
                  <a:cubicBezTo>
                    <a:pt x="84" y="607"/>
                    <a:pt x="103" y="622"/>
                    <a:pt x="110" y="646"/>
                  </a:cubicBezTo>
                  <a:cubicBezTo>
                    <a:pt x="117" y="670"/>
                    <a:pt x="119" y="668"/>
                    <a:pt x="103" y="685"/>
                  </a:cubicBezTo>
                  <a:cubicBezTo>
                    <a:pt x="88" y="702"/>
                    <a:pt x="75" y="707"/>
                    <a:pt x="66" y="722"/>
                  </a:cubicBezTo>
                  <a:cubicBezTo>
                    <a:pt x="58" y="737"/>
                    <a:pt x="58" y="750"/>
                    <a:pt x="40" y="770"/>
                  </a:cubicBezTo>
                  <a:cubicBezTo>
                    <a:pt x="23" y="791"/>
                    <a:pt x="31" y="828"/>
                    <a:pt x="29" y="852"/>
                  </a:cubicBezTo>
                  <a:cubicBezTo>
                    <a:pt x="27" y="876"/>
                    <a:pt x="14" y="889"/>
                    <a:pt x="5" y="909"/>
                  </a:cubicBezTo>
                  <a:cubicBezTo>
                    <a:pt x="0" y="921"/>
                    <a:pt x="11" y="941"/>
                    <a:pt x="21" y="957"/>
                  </a:cubicBezTo>
                  <a:cubicBezTo>
                    <a:pt x="47" y="948"/>
                    <a:pt x="101" y="970"/>
                    <a:pt x="119" y="967"/>
                  </a:cubicBezTo>
                  <a:cubicBezTo>
                    <a:pt x="141" y="963"/>
                    <a:pt x="162" y="982"/>
                    <a:pt x="175" y="1000"/>
                  </a:cubicBezTo>
                  <a:cubicBezTo>
                    <a:pt x="189" y="1019"/>
                    <a:pt x="224" y="1022"/>
                    <a:pt x="245" y="1004"/>
                  </a:cubicBezTo>
                  <a:cubicBezTo>
                    <a:pt x="267" y="985"/>
                    <a:pt x="272" y="1008"/>
                    <a:pt x="280" y="1037"/>
                  </a:cubicBezTo>
                  <a:cubicBezTo>
                    <a:pt x="289" y="1067"/>
                    <a:pt x="346" y="1096"/>
                    <a:pt x="341" y="1152"/>
                  </a:cubicBezTo>
                  <a:cubicBezTo>
                    <a:pt x="339" y="1183"/>
                    <a:pt x="366" y="1216"/>
                    <a:pt x="391" y="1239"/>
                  </a:cubicBezTo>
                  <a:cubicBezTo>
                    <a:pt x="405" y="1229"/>
                    <a:pt x="420" y="1220"/>
                    <a:pt x="438" y="1211"/>
                  </a:cubicBezTo>
                  <a:cubicBezTo>
                    <a:pt x="490" y="1185"/>
                    <a:pt x="490" y="1189"/>
                    <a:pt x="538" y="1145"/>
                  </a:cubicBezTo>
                  <a:cubicBezTo>
                    <a:pt x="586" y="1100"/>
                    <a:pt x="608" y="1082"/>
                    <a:pt x="617" y="1033"/>
                  </a:cubicBezTo>
                  <a:cubicBezTo>
                    <a:pt x="625" y="985"/>
                    <a:pt x="582" y="978"/>
                    <a:pt x="652" y="967"/>
                  </a:cubicBezTo>
                  <a:cubicBezTo>
                    <a:pt x="721" y="956"/>
                    <a:pt x="756" y="959"/>
                    <a:pt x="752" y="919"/>
                  </a:cubicBezTo>
                  <a:cubicBezTo>
                    <a:pt x="748" y="878"/>
                    <a:pt x="813" y="889"/>
                    <a:pt x="813" y="859"/>
                  </a:cubicBezTo>
                  <a:cubicBezTo>
                    <a:pt x="813" y="830"/>
                    <a:pt x="770" y="793"/>
                    <a:pt x="813" y="781"/>
                  </a:cubicBezTo>
                  <a:cubicBezTo>
                    <a:pt x="857" y="770"/>
                    <a:pt x="866" y="770"/>
                    <a:pt x="861" y="730"/>
                  </a:cubicBezTo>
                  <a:cubicBezTo>
                    <a:pt x="857" y="689"/>
                    <a:pt x="874" y="681"/>
                    <a:pt x="905" y="678"/>
                  </a:cubicBezTo>
                  <a:cubicBezTo>
                    <a:pt x="936" y="674"/>
                    <a:pt x="944" y="637"/>
                    <a:pt x="944" y="600"/>
                  </a:cubicBezTo>
                  <a:cubicBezTo>
                    <a:pt x="944" y="563"/>
                    <a:pt x="866" y="563"/>
                    <a:pt x="922" y="515"/>
                  </a:cubicBezTo>
                  <a:cubicBezTo>
                    <a:pt x="979" y="466"/>
                    <a:pt x="962" y="474"/>
                    <a:pt x="936" y="448"/>
                  </a:cubicBezTo>
                  <a:cubicBezTo>
                    <a:pt x="909" y="422"/>
                    <a:pt x="857" y="377"/>
                    <a:pt x="914" y="377"/>
                  </a:cubicBezTo>
                  <a:cubicBezTo>
                    <a:pt x="970" y="377"/>
                    <a:pt x="970" y="400"/>
                    <a:pt x="997" y="351"/>
                  </a:cubicBezTo>
                  <a:cubicBezTo>
                    <a:pt x="1023" y="303"/>
                    <a:pt x="1049" y="285"/>
                    <a:pt x="1062" y="259"/>
                  </a:cubicBezTo>
                  <a:cubicBezTo>
                    <a:pt x="1068" y="247"/>
                    <a:pt x="1078" y="237"/>
                    <a:pt x="1088" y="225"/>
                  </a:cubicBezTo>
                  <a:cubicBezTo>
                    <a:pt x="1086" y="224"/>
                    <a:pt x="1084" y="224"/>
                    <a:pt x="1081" y="224"/>
                  </a:cubicBezTo>
                  <a:cubicBezTo>
                    <a:pt x="1062" y="221"/>
                    <a:pt x="1044" y="212"/>
                    <a:pt x="1034" y="190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" name="Freeform 25"/>
            <p:cNvSpPr>
              <a:spLocks/>
            </p:cNvSpPr>
            <p:nvPr/>
          </p:nvSpPr>
          <p:spPr bwMode="auto">
            <a:xfrm>
              <a:off x="3696" y="1645"/>
              <a:ext cx="410" cy="745"/>
            </a:xfrm>
            <a:custGeom>
              <a:avLst/>
              <a:gdLst>
                <a:gd name="T0" fmla="*/ 142 w 885"/>
                <a:gd name="T1" fmla="*/ 1606 h 1609"/>
                <a:gd name="T2" fmla="*/ 210 w 885"/>
                <a:gd name="T3" fmla="*/ 1575 h 1609"/>
                <a:gd name="T4" fmla="*/ 306 w 885"/>
                <a:gd name="T5" fmla="*/ 1527 h 1609"/>
                <a:gd name="T6" fmla="*/ 369 w 885"/>
                <a:gd name="T7" fmla="*/ 1504 h 1609"/>
                <a:gd name="T8" fmla="*/ 413 w 885"/>
                <a:gd name="T9" fmla="*/ 1460 h 1609"/>
                <a:gd name="T10" fmla="*/ 468 w 885"/>
                <a:gd name="T11" fmla="*/ 1451 h 1609"/>
                <a:gd name="T12" fmla="*/ 494 w 885"/>
                <a:gd name="T13" fmla="*/ 1410 h 1609"/>
                <a:gd name="T14" fmla="*/ 572 w 885"/>
                <a:gd name="T15" fmla="*/ 1397 h 1609"/>
                <a:gd name="T16" fmla="*/ 623 w 885"/>
                <a:gd name="T17" fmla="*/ 1380 h 1609"/>
                <a:gd name="T18" fmla="*/ 671 w 885"/>
                <a:gd name="T19" fmla="*/ 1382 h 1609"/>
                <a:gd name="T20" fmla="*/ 717 w 885"/>
                <a:gd name="T21" fmla="*/ 1349 h 1609"/>
                <a:gd name="T22" fmla="*/ 786 w 885"/>
                <a:gd name="T23" fmla="*/ 1297 h 1609"/>
                <a:gd name="T24" fmla="*/ 795 w 885"/>
                <a:gd name="T25" fmla="*/ 1236 h 1609"/>
                <a:gd name="T26" fmla="*/ 802 w 885"/>
                <a:gd name="T27" fmla="*/ 1158 h 1609"/>
                <a:gd name="T28" fmla="*/ 784 w 885"/>
                <a:gd name="T29" fmla="*/ 1082 h 1609"/>
                <a:gd name="T30" fmla="*/ 752 w 885"/>
                <a:gd name="T31" fmla="*/ 1000 h 1609"/>
                <a:gd name="T32" fmla="*/ 793 w 885"/>
                <a:gd name="T33" fmla="*/ 939 h 1609"/>
                <a:gd name="T34" fmla="*/ 808 w 885"/>
                <a:gd name="T35" fmla="*/ 869 h 1609"/>
                <a:gd name="T36" fmla="*/ 843 w 885"/>
                <a:gd name="T37" fmla="*/ 798 h 1609"/>
                <a:gd name="T38" fmla="*/ 821 w 885"/>
                <a:gd name="T39" fmla="*/ 737 h 1609"/>
                <a:gd name="T40" fmla="*/ 784 w 885"/>
                <a:gd name="T41" fmla="*/ 687 h 1609"/>
                <a:gd name="T42" fmla="*/ 745 w 885"/>
                <a:gd name="T43" fmla="*/ 645 h 1609"/>
                <a:gd name="T44" fmla="*/ 695 w 885"/>
                <a:gd name="T45" fmla="*/ 570 h 1609"/>
                <a:gd name="T46" fmla="*/ 734 w 885"/>
                <a:gd name="T47" fmla="*/ 509 h 1609"/>
                <a:gd name="T48" fmla="*/ 734 w 885"/>
                <a:gd name="T49" fmla="*/ 463 h 1609"/>
                <a:gd name="T50" fmla="*/ 749 w 885"/>
                <a:gd name="T51" fmla="*/ 409 h 1609"/>
                <a:gd name="T52" fmla="*/ 826 w 885"/>
                <a:gd name="T53" fmla="*/ 407 h 1609"/>
                <a:gd name="T54" fmla="*/ 861 w 885"/>
                <a:gd name="T55" fmla="*/ 354 h 1609"/>
                <a:gd name="T56" fmla="*/ 863 w 885"/>
                <a:gd name="T57" fmla="*/ 287 h 1609"/>
                <a:gd name="T58" fmla="*/ 841 w 885"/>
                <a:gd name="T59" fmla="*/ 241 h 1609"/>
                <a:gd name="T60" fmla="*/ 817 w 885"/>
                <a:gd name="T61" fmla="*/ 205 h 1609"/>
                <a:gd name="T62" fmla="*/ 743 w 885"/>
                <a:gd name="T63" fmla="*/ 165 h 1609"/>
                <a:gd name="T64" fmla="*/ 778 w 885"/>
                <a:gd name="T65" fmla="*/ 131 h 1609"/>
                <a:gd name="T66" fmla="*/ 826 w 885"/>
                <a:gd name="T67" fmla="*/ 96 h 1609"/>
                <a:gd name="T68" fmla="*/ 780 w 885"/>
                <a:gd name="T69" fmla="*/ 65 h 1609"/>
                <a:gd name="T70" fmla="*/ 740 w 885"/>
                <a:gd name="T71" fmla="*/ 0 h 1609"/>
                <a:gd name="T72" fmla="*/ 723 w 885"/>
                <a:gd name="T73" fmla="*/ 66 h 1609"/>
                <a:gd name="T74" fmla="*/ 649 w 885"/>
                <a:gd name="T75" fmla="*/ 85 h 1609"/>
                <a:gd name="T76" fmla="*/ 588 w 885"/>
                <a:gd name="T77" fmla="*/ 115 h 1609"/>
                <a:gd name="T78" fmla="*/ 531 w 885"/>
                <a:gd name="T79" fmla="*/ 100 h 1609"/>
                <a:gd name="T80" fmla="*/ 465 w 885"/>
                <a:gd name="T81" fmla="*/ 159 h 1609"/>
                <a:gd name="T82" fmla="*/ 361 w 885"/>
                <a:gd name="T83" fmla="*/ 159 h 1609"/>
                <a:gd name="T84" fmla="*/ 308 w 885"/>
                <a:gd name="T85" fmla="*/ 293 h 1609"/>
                <a:gd name="T86" fmla="*/ 256 w 885"/>
                <a:gd name="T87" fmla="*/ 330 h 1609"/>
                <a:gd name="T88" fmla="*/ 203 w 885"/>
                <a:gd name="T89" fmla="*/ 333 h 1609"/>
                <a:gd name="T90" fmla="*/ 164 w 885"/>
                <a:gd name="T91" fmla="*/ 389 h 1609"/>
                <a:gd name="T92" fmla="*/ 109 w 885"/>
                <a:gd name="T93" fmla="*/ 346 h 1609"/>
                <a:gd name="T94" fmla="*/ 151 w 885"/>
                <a:gd name="T95" fmla="*/ 411 h 1609"/>
                <a:gd name="T96" fmla="*/ 142 w 885"/>
                <a:gd name="T97" fmla="*/ 478 h 1609"/>
                <a:gd name="T98" fmla="*/ 118 w 885"/>
                <a:gd name="T99" fmla="*/ 545 h 1609"/>
                <a:gd name="T100" fmla="*/ 105 w 885"/>
                <a:gd name="T101" fmla="*/ 626 h 1609"/>
                <a:gd name="T102" fmla="*/ 40 w 885"/>
                <a:gd name="T103" fmla="*/ 706 h 1609"/>
                <a:gd name="T104" fmla="*/ 99 w 885"/>
                <a:gd name="T105" fmla="*/ 832 h 1609"/>
                <a:gd name="T106" fmla="*/ 96 w 885"/>
                <a:gd name="T107" fmla="*/ 886 h 1609"/>
                <a:gd name="T108" fmla="*/ 99 w 885"/>
                <a:gd name="T109" fmla="*/ 936 h 1609"/>
                <a:gd name="T110" fmla="*/ 59 w 885"/>
                <a:gd name="T111" fmla="*/ 984 h 1609"/>
                <a:gd name="T112" fmla="*/ 55 w 885"/>
                <a:gd name="T113" fmla="*/ 1073 h 1609"/>
                <a:gd name="T114" fmla="*/ 74 w 885"/>
                <a:gd name="T115" fmla="*/ 1199 h 1609"/>
                <a:gd name="T116" fmla="*/ 116 w 885"/>
                <a:gd name="T117" fmla="*/ 1303 h 1609"/>
                <a:gd name="T118" fmla="*/ 92 w 885"/>
                <a:gd name="T119" fmla="*/ 1421 h 1609"/>
                <a:gd name="T120" fmla="*/ 64 w 885"/>
                <a:gd name="T121" fmla="*/ 1547 h 1609"/>
                <a:gd name="T122" fmla="*/ 72 w 885"/>
                <a:gd name="T123" fmla="*/ 1606 h 1609"/>
                <a:gd name="T124" fmla="*/ 142 w 885"/>
                <a:gd name="T125" fmla="*/ 1606 h 1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85" h="1609">
                  <a:moveTo>
                    <a:pt x="142" y="1606"/>
                  </a:moveTo>
                  <a:cubicBezTo>
                    <a:pt x="175" y="1603"/>
                    <a:pt x="177" y="1597"/>
                    <a:pt x="210" y="1575"/>
                  </a:cubicBezTo>
                  <a:cubicBezTo>
                    <a:pt x="243" y="1553"/>
                    <a:pt x="265" y="1523"/>
                    <a:pt x="306" y="1527"/>
                  </a:cubicBezTo>
                  <a:cubicBezTo>
                    <a:pt x="347" y="1530"/>
                    <a:pt x="358" y="1519"/>
                    <a:pt x="369" y="1504"/>
                  </a:cubicBezTo>
                  <a:cubicBezTo>
                    <a:pt x="380" y="1490"/>
                    <a:pt x="387" y="1460"/>
                    <a:pt x="413" y="1460"/>
                  </a:cubicBezTo>
                  <a:cubicBezTo>
                    <a:pt x="439" y="1460"/>
                    <a:pt x="463" y="1469"/>
                    <a:pt x="468" y="1451"/>
                  </a:cubicBezTo>
                  <a:cubicBezTo>
                    <a:pt x="472" y="1432"/>
                    <a:pt x="459" y="1408"/>
                    <a:pt x="494" y="1410"/>
                  </a:cubicBezTo>
                  <a:cubicBezTo>
                    <a:pt x="529" y="1412"/>
                    <a:pt x="553" y="1404"/>
                    <a:pt x="572" y="1397"/>
                  </a:cubicBezTo>
                  <a:cubicBezTo>
                    <a:pt x="592" y="1390"/>
                    <a:pt x="612" y="1367"/>
                    <a:pt x="623" y="1380"/>
                  </a:cubicBezTo>
                  <a:cubicBezTo>
                    <a:pt x="634" y="1393"/>
                    <a:pt x="658" y="1399"/>
                    <a:pt x="671" y="1382"/>
                  </a:cubicBezTo>
                  <a:cubicBezTo>
                    <a:pt x="684" y="1366"/>
                    <a:pt x="682" y="1351"/>
                    <a:pt x="717" y="1349"/>
                  </a:cubicBezTo>
                  <a:cubicBezTo>
                    <a:pt x="752" y="1347"/>
                    <a:pt x="769" y="1321"/>
                    <a:pt x="786" y="1297"/>
                  </a:cubicBezTo>
                  <a:cubicBezTo>
                    <a:pt x="804" y="1273"/>
                    <a:pt x="808" y="1245"/>
                    <a:pt x="795" y="1236"/>
                  </a:cubicBezTo>
                  <a:cubicBezTo>
                    <a:pt x="782" y="1227"/>
                    <a:pt x="817" y="1186"/>
                    <a:pt x="802" y="1158"/>
                  </a:cubicBezTo>
                  <a:cubicBezTo>
                    <a:pt x="786" y="1130"/>
                    <a:pt x="826" y="1110"/>
                    <a:pt x="784" y="1082"/>
                  </a:cubicBezTo>
                  <a:cubicBezTo>
                    <a:pt x="743" y="1054"/>
                    <a:pt x="723" y="1021"/>
                    <a:pt x="752" y="1000"/>
                  </a:cubicBezTo>
                  <a:cubicBezTo>
                    <a:pt x="780" y="980"/>
                    <a:pt x="797" y="980"/>
                    <a:pt x="793" y="939"/>
                  </a:cubicBezTo>
                  <a:cubicBezTo>
                    <a:pt x="789" y="899"/>
                    <a:pt x="784" y="900"/>
                    <a:pt x="808" y="869"/>
                  </a:cubicBezTo>
                  <a:cubicBezTo>
                    <a:pt x="832" y="837"/>
                    <a:pt x="841" y="823"/>
                    <a:pt x="843" y="798"/>
                  </a:cubicBezTo>
                  <a:cubicBezTo>
                    <a:pt x="845" y="774"/>
                    <a:pt x="843" y="756"/>
                    <a:pt x="821" y="737"/>
                  </a:cubicBezTo>
                  <a:cubicBezTo>
                    <a:pt x="800" y="719"/>
                    <a:pt x="784" y="706"/>
                    <a:pt x="784" y="687"/>
                  </a:cubicBezTo>
                  <a:cubicBezTo>
                    <a:pt x="784" y="669"/>
                    <a:pt x="782" y="656"/>
                    <a:pt x="745" y="645"/>
                  </a:cubicBezTo>
                  <a:cubicBezTo>
                    <a:pt x="708" y="633"/>
                    <a:pt x="684" y="609"/>
                    <a:pt x="695" y="570"/>
                  </a:cubicBezTo>
                  <a:cubicBezTo>
                    <a:pt x="706" y="532"/>
                    <a:pt x="734" y="543"/>
                    <a:pt x="734" y="509"/>
                  </a:cubicBezTo>
                  <a:cubicBezTo>
                    <a:pt x="734" y="476"/>
                    <a:pt x="734" y="480"/>
                    <a:pt x="734" y="463"/>
                  </a:cubicBezTo>
                  <a:cubicBezTo>
                    <a:pt x="734" y="446"/>
                    <a:pt x="719" y="398"/>
                    <a:pt x="749" y="409"/>
                  </a:cubicBezTo>
                  <a:cubicBezTo>
                    <a:pt x="780" y="420"/>
                    <a:pt x="806" y="433"/>
                    <a:pt x="826" y="407"/>
                  </a:cubicBezTo>
                  <a:cubicBezTo>
                    <a:pt x="845" y="381"/>
                    <a:pt x="856" y="370"/>
                    <a:pt x="861" y="354"/>
                  </a:cubicBezTo>
                  <a:cubicBezTo>
                    <a:pt x="865" y="337"/>
                    <a:pt x="885" y="313"/>
                    <a:pt x="863" y="287"/>
                  </a:cubicBezTo>
                  <a:cubicBezTo>
                    <a:pt x="841" y="261"/>
                    <a:pt x="841" y="257"/>
                    <a:pt x="841" y="241"/>
                  </a:cubicBezTo>
                  <a:cubicBezTo>
                    <a:pt x="841" y="224"/>
                    <a:pt x="848" y="205"/>
                    <a:pt x="817" y="205"/>
                  </a:cubicBezTo>
                  <a:cubicBezTo>
                    <a:pt x="786" y="205"/>
                    <a:pt x="708" y="198"/>
                    <a:pt x="743" y="165"/>
                  </a:cubicBezTo>
                  <a:cubicBezTo>
                    <a:pt x="778" y="131"/>
                    <a:pt x="747" y="139"/>
                    <a:pt x="778" y="131"/>
                  </a:cubicBezTo>
                  <a:cubicBezTo>
                    <a:pt x="808" y="124"/>
                    <a:pt x="841" y="124"/>
                    <a:pt x="826" y="96"/>
                  </a:cubicBezTo>
                  <a:cubicBezTo>
                    <a:pt x="811" y="68"/>
                    <a:pt x="784" y="89"/>
                    <a:pt x="780" y="65"/>
                  </a:cubicBezTo>
                  <a:cubicBezTo>
                    <a:pt x="776" y="43"/>
                    <a:pt x="776" y="14"/>
                    <a:pt x="740" y="0"/>
                  </a:cubicBezTo>
                  <a:cubicBezTo>
                    <a:pt x="741" y="21"/>
                    <a:pt x="753" y="60"/>
                    <a:pt x="723" y="66"/>
                  </a:cubicBezTo>
                  <a:cubicBezTo>
                    <a:pt x="688" y="74"/>
                    <a:pt x="653" y="59"/>
                    <a:pt x="649" y="85"/>
                  </a:cubicBezTo>
                  <a:cubicBezTo>
                    <a:pt x="645" y="111"/>
                    <a:pt x="610" y="133"/>
                    <a:pt x="588" y="115"/>
                  </a:cubicBezTo>
                  <a:cubicBezTo>
                    <a:pt x="566" y="96"/>
                    <a:pt x="544" y="74"/>
                    <a:pt x="531" y="100"/>
                  </a:cubicBezTo>
                  <a:cubicBezTo>
                    <a:pt x="518" y="126"/>
                    <a:pt x="500" y="174"/>
                    <a:pt x="465" y="159"/>
                  </a:cubicBezTo>
                  <a:cubicBezTo>
                    <a:pt x="430" y="144"/>
                    <a:pt x="378" y="133"/>
                    <a:pt x="361" y="159"/>
                  </a:cubicBezTo>
                  <a:cubicBezTo>
                    <a:pt x="343" y="185"/>
                    <a:pt x="317" y="267"/>
                    <a:pt x="308" y="293"/>
                  </a:cubicBezTo>
                  <a:cubicBezTo>
                    <a:pt x="299" y="318"/>
                    <a:pt x="269" y="337"/>
                    <a:pt x="256" y="330"/>
                  </a:cubicBezTo>
                  <a:cubicBezTo>
                    <a:pt x="243" y="322"/>
                    <a:pt x="203" y="296"/>
                    <a:pt x="203" y="333"/>
                  </a:cubicBezTo>
                  <a:cubicBezTo>
                    <a:pt x="203" y="370"/>
                    <a:pt x="208" y="407"/>
                    <a:pt x="164" y="389"/>
                  </a:cubicBezTo>
                  <a:cubicBezTo>
                    <a:pt x="133" y="376"/>
                    <a:pt x="124" y="344"/>
                    <a:pt x="109" y="346"/>
                  </a:cubicBezTo>
                  <a:cubicBezTo>
                    <a:pt x="118" y="371"/>
                    <a:pt x="139" y="397"/>
                    <a:pt x="151" y="411"/>
                  </a:cubicBezTo>
                  <a:cubicBezTo>
                    <a:pt x="166" y="430"/>
                    <a:pt x="157" y="461"/>
                    <a:pt x="142" y="478"/>
                  </a:cubicBezTo>
                  <a:cubicBezTo>
                    <a:pt x="127" y="494"/>
                    <a:pt x="125" y="507"/>
                    <a:pt x="118" y="545"/>
                  </a:cubicBezTo>
                  <a:cubicBezTo>
                    <a:pt x="112" y="582"/>
                    <a:pt x="107" y="578"/>
                    <a:pt x="105" y="626"/>
                  </a:cubicBezTo>
                  <a:cubicBezTo>
                    <a:pt x="103" y="674"/>
                    <a:pt x="79" y="671"/>
                    <a:pt x="40" y="706"/>
                  </a:cubicBezTo>
                  <a:cubicBezTo>
                    <a:pt x="0" y="741"/>
                    <a:pt x="83" y="813"/>
                    <a:pt x="99" y="832"/>
                  </a:cubicBezTo>
                  <a:cubicBezTo>
                    <a:pt x="114" y="850"/>
                    <a:pt x="116" y="869"/>
                    <a:pt x="96" y="886"/>
                  </a:cubicBezTo>
                  <a:cubicBezTo>
                    <a:pt x="77" y="902"/>
                    <a:pt x="79" y="908"/>
                    <a:pt x="99" y="936"/>
                  </a:cubicBezTo>
                  <a:cubicBezTo>
                    <a:pt x="118" y="963"/>
                    <a:pt x="74" y="958"/>
                    <a:pt x="59" y="984"/>
                  </a:cubicBezTo>
                  <a:cubicBezTo>
                    <a:pt x="44" y="1010"/>
                    <a:pt x="29" y="1047"/>
                    <a:pt x="55" y="1073"/>
                  </a:cubicBezTo>
                  <a:cubicBezTo>
                    <a:pt x="81" y="1099"/>
                    <a:pt x="74" y="1164"/>
                    <a:pt x="74" y="1199"/>
                  </a:cubicBezTo>
                  <a:cubicBezTo>
                    <a:pt x="74" y="1234"/>
                    <a:pt x="90" y="1243"/>
                    <a:pt x="116" y="1303"/>
                  </a:cubicBezTo>
                  <a:cubicBezTo>
                    <a:pt x="142" y="1362"/>
                    <a:pt x="107" y="1386"/>
                    <a:pt x="92" y="1421"/>
                  </a:cubicBezTo>
                  <a:cubicBezTo>
                    <a:pt x="77" y="1456"/>
                    <a:pt x="61" y="1492"/>
                    <a:pt x="64" y="1547"/>
                  </a:cubicBezTo>
                  <a:cubicBezTo>
                    <a:pt x="65" y="1571"/>
                    <a:pt x="67" y="1590"/>
                    <a:pt x="72" y="1606"/>
                  </a:cubicBezTo>
                  <a:cubicBezTo>
                    <a:pt x="94" y="1608"/>
                    <a:pt x="123" y="1609"/>
                    <a:pt x="142" y="1606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" name="Freeform 26"/>
            <p:cNvSpPr>
              <a:spLocks/>
            </p:cNvSpPr>
            <p:nvPr/>
          </p:nvSpPr>
          <p:spPr bwMode="auto">
            <a:xfrm>
              <a:off x="3730" y="2139"/>
              <a:ext cx="699" cy="563"/>
            </a:xfrm>
            <a:custGeom>
              <a:avLst/>
              <a:gdLst>
                <a:gd name="T0" fmla="*/ 1378 w 1510"/>
                <a:gd name="T1" fmla="*/ 1097 h 1217"/>
                <a:gd name="T2" fmla="*/ 1389 w 1510"/>
                <a:gd name="T3" fmla="*/ 986 h 1217"/>
                <a:gd name="T4" fmla="*/ 1344 w 1510"/>
                <a:gd name="T5" fmla="*/ 936 h 1217"/>
                <a:gd name="T6" fmla="*/ 1241 w 1510"/>
                <a:gd name="T7" fmla="*/ 927 h 1217"/>
                <a:gd name="T8" fmla="*/ 1175 w 1510"/>
                <a:gd name="T9" fmla="*/ 854 h 1217"/>
                <a:gd name="T10" fmla="*/ 1156 w 1510"/>
                <a:gd name="T11" fmla="*/ 808 h 1217"/>
                <a:gd name="T12" fmla="*/ 1217 w 1510"/>
                <a:gd name="T13" fmla="*/ 682 h 1217"/>
                <a:gd name="T14" fmla="*/ 1256 w 1510"/>
                <a:gd name="T15" fmla="*/ 610 h 1217"/>
                <a:gd name="T16" fmla="*/ 1315 w 1510"/>
                <a:gd name="T17" fmla="*/ 558 h 1217"/>
                <a:gd name="T18" fmla="*/ 1424 w 1510"/>
                <a:gd name="T19" fmla="*/ 615 h 1217"/>
                <a:gd name="T20" fmla="*/ 1490 w 1510"/>
                <a:gd name="T21" fmla="*/ 538 h 1217"/>
                <a:gd name="T22" fmla="*/ 1424 w 1510"/>
                <a:gd name="T23" fmla="*/ 465 h 1217"/>
                <a:gd name="T24" fmla="*/ 1330 w 1510"/>
                <a:gd name="T25" fmla="*/ 397 h 1217"/>
                <a:gd name="T26" fmla="*/ 1182 w 1510"/>
                <a:gd name="T27" fmla="*/ 397 h 1217"/>
                <a:gd name="T28" fmla="*/ 1053 w 1510"/>
                <a:gd name="T29" fmla="*/ 330 h 1217"/>
                <a:gd name="T30" fmla="*/ 1090 w 1510"/>
                <a:gd name="T31" fmla="*/ 239 h 1217"/>
                <a:gd name="T32" fmla="*/ 1230 w 1510"/>
                <a:gd name="T33" fmla="*/ 84 h 1217"/>
                <a:gd name="T34" fmla="*/ 1114 w 1510"/>
                <a:gd name="T35" fmla="*/ 102 h 1217"/>
                <a:gd name="T36" fmla="*/ 1036 w 1510"/>
                <a:gd name="T37" fmla="*/ 50 h 1217"/>
                <a:gd name="T38" fmla="*/ 950 w 1510"/>
                <a:gd name="T39" fmla="*/ 56 h 1217"/>
                <a:gd name="T40" fmla="*/ 811 w 1510"/>
                <a:gd name="T41" fmla="*/ 33 h 1217"/>
                <a:gd name="T42" fmla="*/ 730 w 1510"/>
                <a:gd name="T43" fmla="*/ 91 h 1217"/>
                <a:gd name="T44" fmla="*/ 714 w 1510"/>
                <a:gd name="T45" fmla="*/ 230 h 1217"/>
                <a:gd name="T46" fmla="*/ 599 w 1510"/>
                <a:gd name="T47" fmla="*/ 315 h 1217"/>
                <a:gd name="T48" fmla="*/ 500 w 1510"/>
                <a:gd name="T49" fmla="*/ 330 h 1217"/>
                <a:gd name="T50" fmla="*/ 396 w 1510"/>
                <a:gd name="T51" fmla="*/ 384 h 1217"/>
                <a:gd name="T52" fmla="*/ 297 w 1510"/>
                <a:gd name="T53" fmla="*/ 437 h 1217"/>
                <a:gd name="T54" fmla="*/ 138 w 1510"/>
                <a:gd name="T55" fmla="*/ 508 h 1217"/>
                <a:gd name="T56" fmla="*/ 0 w 1510"/>
                <a:gd name="T57" fmla="*/ 539 h 1217"/>
                <a:gd name="T58" fmla="*/ 88 w 1510"/>
                <a:gd name="T59" fmla="*/ 684 h 1217"/>
                <a:gd name="T60" fmla="*/ 189 w 1510"/>
                <a:gd name="T61" fmla="*/ 852 h 1217"/>
                <a:gd name="T62" fmla="*/ 377 w 1510"/>
                <a:gd name="T63" fmla="*/ 1009 h 1217"/>
                <a:gd name="T64" fmla="*/ 542 w 1510"/>
                <a:gd name="T65" fmla="*/ 1057 h 1217"/>
                <a:gd name="T66" fmla="*/ 710 w 1510"/>
                <a:gd name="T67" fmla="*/ 1024 h 1217"/>
                <a:gd name="T68" fmla="*/ 805 w 1510"/>
                <a:gd name="T69" fmla="*/ 1056 h 1217"/>
                <a:gd name="T70" fmla="*/ 889 w 1510"/>
                <a:gd name="T71" fmla="*/ 1047 h 1217"/>
                <a:gd name="T72" fmla="*/ 927 w 1510"/>
                <a:gd name="T73" fmla="*/ 1145 h 1217"/>
                <a:gd name="T74" fmla="*/ 1030 w 1510"/>
                <a:gd name="T75" fmla="*/ 1129 h 1217"/>
                <a:gd name="T76" fmla="*/ 1171 w 1510"/>
                <a:gd name="T77" fmla="*/ 1213 h 1217"/>
                <a:gd name="T78" fmla="*/ 1253 w 1510"/>
                <a:gd name="T79" fmla="*/ 1197 h 1217"/>
                <a:gd name="T80" fmla="*/ 1293 w 1510"/>
                <a:gd name="T81" fmla="*/ 1217 h 1217"/>
                <a:gd name="T82" fmla="*/ 1320 w 1510"/>
                <a:gd name="T83" fmla="*/ 1127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10" h="1217">
                  <a:moveTo>
                    <a:pt x="1320" y="1127"/>
                  </a:moveTo>
                  <a:cubicBezTo>
                    <a:pt x="1352" y="1118"/>
                    <a:pt x="1352" y="1105"/>
                    <a:pt x="1378" y="1097"/>
                  </a:cubicBezTo>
                  <a:cubicBezTo>
                    <a:pt x="1405" y="1090"/>
                    <a:pt x="1407" y="1092"/>
                    <a:pt x="1405" y="1062"/>
                  </a:cubicBezTo>
                  <a:cubicBezTo>
                    <a:pt x="1402" y="1032"/>
                    <a:pt x="1407" y="1012"/>
                    <a:pt x="1389" y="986"/>
                  </a:cubicBezTo>
                  <a:cubicBezTo>
                    <a:pt x="1372" y="960"/>
                    <a:pt x="1372" y="953"/>
                    <a:pt x="1372" y="942"/>
                  </a:cubicBezTo>
                  <a:cubicBezTo>
                    <a:pt x="1372" y="930"/>
                    <a:pt x="1376" y="892"/>
                    <a:pt x="1344" y="936"/>
                  </a:cubicBezTo>
                  <a:cubicBezTo>
                    <a:pt x="1311" y="980"/>
                    <a:pt x="1298" y="966"/>
                    <a:pt x="1285" y="955"/>
                  </a:cubicBezTo>
                  <a:cubicBezTo>
                    <a:pt x="1271" y="943"/>
                    <a:pt x="1261" y="921"/>
                    <a:pt x="1241" y="927"/>
                  </a:cubicBezTo>
                  <a:cubicBezTo>
                    <a:pt x="1221" y="932"/>
                    <a:pt x="1202" y="925"/>
                    <a:pt x="1202" y="905"/>
                  </a:cubicBezTo>
                  <a:cubicBezTo>
                    <a:pt x="1202" y="884"/>
                    <a:pt x="1212" y="860"/>
                    <a:pt x="1175" y="854"/>
                  </a:cubicBezTo>
                  <a:cubicBezTo>
                    <a:pt x="1138" y="849"/>
                    <a:pt x="1121" y="849"/>
                    <a:pt x="1119" y="823"/>
                  </a:cubicBezTo>
                  <a:cubicBezTo>
                    <a:pt x="1116" y="797"/>
                    <a:pt x="1132" y="806"/>
                    <a:pt x="1156" y="808"/>
                  </a:cubicBezTo>
                  <a:cubicBezTo>
                    <a:pt x="1180" y="810"/>
                    <a:pt x="1210" y="806"/>
                    <a:pt x="1215" y="775"/>
                  </a:cubicBezTo>
                  <a:cubicBezTo>
                    <a:pt x="1219" y="743"/>
                    <a:pt x="1182" y="684"/>
                    <a:pt x="1217" y="682"/>
                  </a:cubicBezTo>
                  <a:cubicBezTo>
                    <a:pt x="1252" y="680"/>
                    <a:pt x="1285" y="686"/>
                    <a:pt x="1267" y="662"/>
                  </a:cubicBezTo>
                  <a:cubicBezTo>
                    <a:pt x="1250" y="638"/>
                    <a:pt x="1271" y="630"/>
                    <a:pt x="1256" y="610"/>
                  </a:cubicBezTo>
                  <a:cubicBezTo>
                    <a:pt x="1241" y="589"/>
                    <a:pt x="1232" y="571"/>
                    <a:pt x="1252" y="565"/>
                  </a:cubicBezTo>
                  <a:cubicBezTo>
                    <a:pt x="1271" y="560"/>
                    <a:pt x="1291" y="536"/>
                    <a:pt x="1315" y="558"/>
                  </a:cubicBezTo>
                  <a:cubicBezTo>
                    <a:pt x="1339" y="580"/>
                    <a:pt x="1357" y="575"/>
                    <a:pt x="1361" y="593"/>
                  </a:cubicBezTo>
                  <a:cubicBezTo>
                    <a:pt x="1365" y="612"/>
                    <a:pt x="1411" y="625"/>
                    <a:pt x="1424" y="615"/>
                  </a:cubicBezTo>
                  <a:cubicBezTo>
                    <a:pt x="1437" y="606"/>
                    <a:pt x="1422" y="591"/>
                    <a:pt x="1453" y="580"/>
                  </a:cubicBezTo>
                  <a:cubicBezTo>
                    <a:pt x="1483" y="569"/>
                    <a:pt x="1510" y="558"/>
                    <a:pt x="1490" y="538"/>
                  </a:cubicBezTo>
                  <a:cubicBezTo>
                    <a:pt x="1470" y="517"/>
                    <a:pt x="1464" y="512"/>
                    <a:pt x="1464" y="495"/>
                  </a:cubicBezTo>
                  <a:cubicBezTo>
                    <a:pt x="1464" y="478"/>
                    <a:pt x="1457" y="465"/>
                    <a:pt x="1424" y="465"/>
                  </a:cubicBezTo>
                  <a:cubicBezTo>
                    <a:pt x="1392" y="465"/>
                    <a:pt x="1378" y="458"/>
                    <a:pt x="1368" y="443"/>
                  </a:cubicBezTo>
                  <a:cubicBezTo>
                    <a:pt x="1357" y="428"/>
                    <a:pt x="1363" y="393"/>
                    <a:pt x="1330" y="397"/>
                  </a:cubicBezTo>
                  <a:cubicBezTo>
                    <a:pt x="1298" y="400"/>
                    <a:pt x="1282" y="432"/>
                    <a:pt x="1243" y="423"/>
                  </a:cubicBezTo>
                  <a:cubicBezTo>
                    <a:pt x="1204" y="413"/>
                    <a:pt x="1191" y="412"/>
                    <a:pt x="1182" y="397"/>
                  </a:cubicBezTo>
                  <a:cubicBezTo>
                    <a:pt x="1173" y="382"/>
                    <a:pt x="1173" y="369"/>
                    <a:pt x="1136" y="356"/>
                  </a:cubicBezTo>
                  <a:cubicBezTo>
                    <a:pt x="1099" y="343"/>
                    <a:pt x="1079" y="345"/>
                    <a:pt x="1053" y="330"/>
                  </a:cubicBezTo>
                  <a:cubicBezTo>
                    <a:pt x="1027" y="315"/>
                    <a:pt x="1031" y="308"/>
                    <a:pt x="1046" y="284"/>
                  </a:cubicBezTo>
                  <a:cubicBezTo>
                    <a:pt x="1062" y="260"/>
                    <a:pt x="1057" y="258"/>
                    <a:pt x="1090" y="239"/>
                  </a:cubicBezTo>
                  <a:cubicBezTo>
                    <a:pt x="1123" y="221"/>
                    <a:pt x="1132" y="187"/>
                    <a:pt x="1154" y="167"/>
                  </a:cubicBezTo>
                  <a:cubicBezTo>
                    <a:pt x="1175" y="147"/>
                    <a:pt x="1206" y="98"/>
                    <a:pt x="1230" y="84"/>
                  </a:cubicBezTo>
                  <a:cubicBezTo>
                    <a:pt x="1254" y="69"/>
                    <a:pt x="1300" y="0"/>
                    <a:pt x="1202" y="80"/>
                  </a:cubicBezTo>
                  <a:cubicBezTo>
                    <a:pt x="1167" y="91"/>
                    <a:pt x="1101" y="156"/>
                    <a:pt x="1114" y="102"/>
                  </a:cubicBezTo>
                  <a:cubicBezTo>
                    <a:pt x="1127" y="48"/>
                    <a:pt x="1145" y="48"/>
                    <a:pt x="1110" y="48"/>
                  </a:cubicBezTo>
                  <a:cubicBezTo>
                    <a:pt x="1075" y="48"/>
                    <a:pt x="1075" y="4"/>
                    <a:pt x="1036" y="50"/>
                  </a:cubicBezTo>
                  <a:cubicBezTo>
                    <a:pt x="1027" y="69"/>
                    <a:pt x="1016" y="72"/>
                    <a:pt x="994" y="63"/>
                  </a:cubicBezTo>
                  <a:cubicBezTo>
                    <a:pt x="972" y="54"/>
                    <a:pt x="977" y="50"/>
                    <a:pt x="950" y="56"/>
                  </a:cubicBezTo>
                  <a:cubicBezTo>
                    <a:pt x="924" y="61"/>
                    <a:pt x="920" y="59"/>
                    <a:pt x="887" y="54"/>
                  </a:cubicBezTo>
                  <a:cubicBezTo>
                    <a:pt x="854" y="48"/>
                    <a:pt x="835" y="37"/>
                    <a:pt x="811" y="33"/>
                  </a:cubicBezTo>
                  <a:cubicBezTo>
                    <a:pt x="794" y="31"/>
                    <a:pt x="760" y="23"/>
                    <a:pt x="727" y="29"/>
                  </a:cubicBezTo>
                  <a:cubicBezTo>
                    <a:pt x="741" y="50"/>
                    <a:pt x="717" y="68"/>
                    <a:pt x="730" y="91"/>
                  </a:cubicBezTo>
                  <a:cubicBezTo>
                    <a:pt x="745" y="119"/>
                    <a:pt x="710" y="160"/>
                    <a:pt x="723" y="169"/>
                  </a:cubicBezTo>
                  <a:cubicBezTo>
                    <a:pt x="736" y="178"/>
                    <a:pt x="732" y="206"/>
                    <a:pt x="714" y="230"/>
                  </a:cubicBezTo>
                  <a:cubicBezTo>
                    <a:pt x="697" y="254"/>
                    <a:pt x="680" y="280"/>
                    <a:pt x="645" y="282"/>
                  </a:cubicBezTo>
                  <a:cubicBezTo>
                    <a:pt x="610" y="284"/>
                    <a:pt x="612" y="299"/>
                    <a:pt x="599" y="315"/>
                  </a:cubicBezTo>
                  <a:cubicBezTo>
                    <a:pt x="586" y="332"/>
                    <a:pt x="562" y="326"/>
                    <a:pt x="551" y="313"/>
                  </a:cubicBezTo>
                  <a:cubicBezTo>
                    <a:pt x="540" y="300"/>
                    <a:pt x="520" y="323"/>
                    <a:pt x="500" y="330"/>
                  </a:cubicBezTo>
                  <a:cubicBezTo>
                    <a:pt x="481" y="337"/>
                    <a:pt x="457" y="345"/>
                    <a:pt x="422" y="343"/>
                  </a:cubicBezTo>
                  <a:cubicBezTo>
                    <a:pt x="387" y="341"/>
                    <a:pt x="400" y="365"/>
                    <a:pt x="396" y="384"/>
                  </a:cubicBezTo>
                  <a:cubicBezTo>
                    <a:pt x="391" y="402"/>
                    <a:pt x="367" y="393"/>
                    <a:pt x="341" y="393"/>
                  </a:cubicBezTo>
                  <a:cubicBezTo>
                    <a:pt x="315" y="393"/>
                    <a:pt x="308" y="423"/>
                    <a:pt x="297" y="437"/>
                  </a:cubicBezTo>
                  <a:cubicBezTo>
                    <a:pt x="286" y="452"/>
                    <a:pt x="275" y="463"/>
                    <a:pt x="234" y="460"/>
                  </a:cubicBezTo>
                  <a:cubicBezTo>
                    <a:pt x="193" y="456"/>
                    <a:pt x="171" y="486"/>
                    <a:pt x="138" y="508"/>
                  </a:cubicBezTo>
                  <a:cubicBezTo>
                    <a:pt x="105" y="530"/>
                    <a:pt x="103" y="536"/>
                    <a:pt x="70" y="539"/>
                  </a:cubicBezTo>
                  <a:cubicBezTo>
                    <a:pt x="51" y="542"/>
                    <a:pt x="22" y="541"/>
                    <a:pt x="0" y="539"/>
                  </a:cubicBezTo>
                  <a:cubicBezTo>
                    <a:pt x="6" y="561"/>
                    <a:pt x="16" y="577"/>
                    <a:pt x="31" y="593"/>
                  </a:cubicBezTo>
                  <a:cubicBezTo>
                    <a:pt x="57" y="621"/>
                    <a:pt x="72" y="639"/>
                    <a:pt x="88" y="684"/>
                  </a:cubicBezTo>
                  <a:cubicBezTo>
                    <a:pt x="103" y="728"/>
                    <a:pt x="177" y="778"/>
                    <a:pt x="195" y="806"/>
                  </a:cubicBezTo>
                  <a:cubicBezTo>
                    <a:pt x="207" y="825"/>
                    <a:pt x="201" y="839"/>
                    <a:pt x="189" y="852"/>
                  </a:cubicBezTo>
                  <a:cubicBezTo>
                    <a:pt x="228" y="879"/>
                    <a:pt x="269" y="936"/>
                    <a:pt x="284" y="955"/>
                  </a:cubicBezTo>
                  <a:cubicBezTo>
                    <a:pt x="302" y="979"/>
                    <a:pt x="354" y="1007"/>
                    <a:pt x="377" y="1009"/>
                  </a:cubicBezTo>
                  <a:cubicBezTo>
                    <a:pt x="400" y="1011"/>
                    <a:pt x="403" y="1023"/>
                    <a:pt x="452" y="1039"/>
                  </a:cubicBezTo>
                  <a:cubicBezTo>
                    <a:pt x="502" y="1055"/>
                    <a:pt x="505" y="1053"/>
                    <a:pt x="542" y="1057"/>
                  </a:cubicBezTo>
                  <a:cubicBezTo>
                    <a:pt x="579" y="1062"/>
                    <a:pt x="626" y="1055"/>
                    <a:pt x="650" y="1044"/>
                  </a:cubicBezTo>
                  <a:cubicBezTo>
                    <a:pt x="674" y="1034"/>
                    <a:pt x="685" y="1027"/>
                    <a:pt x="710" y="1024"/>
                  </a:cubicBezTo>
                  <a:cubicBezTo>
                    <a:pt x="735" y="1021"/>
                    <a:pt x="747" y="1025"/>
                    <a:pt x="760" y="1033"/>
                  </a:cubicBezTo>
                  <a:cubicBezTo>
                    <a:pt x="773" y="1042"/>
                    <a:pt x="773" y="1062"/>
                    <a:pt x="805" y="1056"/>
                  </a:cubicBezTo>
                  <a:cubicBezTo>
                    <a:pt x="837" y="1049"/>
                    <a:pt x="834" y="1018"/>
                    <a:pt x="853" y="1008"/>
                  </a:cubicBezTo>
                  <a:cubicBezTo>
                    <a:pt x="873" y="998"/>
                    <a:pt x="885" y="1031"/>
                    <a:pt x="889" y="1047"/>
                  </a:cubicBezTo>
                  <a:cubicBezTo>
                    <a:pt x="894" y="1064"/>
                    <a:pt x="888" y="1072"/>
                    <a:pt x="885" y="1094"/>
                  </a:cubicBezTo>
                  <a:cubicBezTo>
                    <a:pt x="882" y="1115"/>
                    <a:pt x="910" y="1131"/>
                    <a:pt x="927" y="1145"/>
                  </a:cubicBezTo>
                  <a:cubicBezTo>
                    <a:pt x="945" y="1160"/>
                    <a:pt x="959" y="1159"/>
                    <a:pt x="983" y="1148"/>
                  </a:cubicBezTo>
                  <a:cubicBezTo>
                    <a:pt x="1007" y="1137"/>
                    <a:pt x="1004" y="1124"/>
                    <a:pt x="1030" y="1129"/>
                  </a:cubicBezTo>
                  <a:cubicBezTo>
                    <a:pt x="1056" y="1133"/>
                    <a:pt x="1092" y="1184"/>
                    <a:pt x="1107" y="1197"/>
                  </a:cubicBezTo>
                  <a:cubicBezTo>
                    <a:pt x="1121" y="1210"/>
                    <a:pt x="1154" y="1215"/>
                    <a:pt x="1171" y="1213"/>
                  </a:cubicBezTo>
                  <a:cubicBezTo>
                    <a:pt x="1188" y="1211"/>
                    <a:pt x="1200" y="1212"/>
                    <a:pt x="1218" y="1190"/>
                  </a:cubicBezTo>
                  <a:cubicBezTo>
                    <a:pt x="1235" y="1168"/>
                    <a:pt x="1246" y="1189"/>
                    <a:pt x="1253" y="1197"/>
                  </a:cubicBezTo>
                  <a:cubicBezTo>
                    <a:pt x="1259" y="1206"/>
                    <a:pt x="1266" y="1214"/>
                    <a:pt x="1280" y="1212"/>
                  </a:cubicBezTo>
                  <a:cubicBezTo>
                    <a:pt x="1284" y="1212"/>
                    <a:pt x="1289" y="1213"/>
                    <a:pt x="1293" y="1217"/>
                  </a:cubicBezTo>
                  <a:cubicBezTo>
                    <a:pt x="1297" y="1206"/>
                    <a:pt x="1301" y="1191"/>
                    <a:pt x="1302" y="1177"/>
                  </a:cubicBezTo>
                  <a:cubicBezTo>
                    <a:pt x="1304" y="1147"/>
                    <a:pt x="1287" y="1136"/>
                    <a:pt x="1320" y="1127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" name="Freeform 27"/>
            <p:cNvSpPr>
              <a:spLocks/>
            </p:cNvSpPr>
            <p:nvPr/>
          </p:nvSpPr>
          <p:spPr bwMode="auto">
            <a:xfrm>
              <a:off x="4247" y="2313"/>
              <a:ext cx="563" cy="589"/>
            </a:xfrm>
            <a:custGeom>
              <a:avLst/>
              <a:gdLst>
                <a:gd name="T0" fmla="*/ 240 w 1217"/>
                <a:gd name="T1" fmla="*/ 33 h 1271"/>
                <a:gd name="T2" fmla="*/ 308 w 1217"/>
                <a:gd name="T3" fmla="*/ 88 h 1271"/>
                <a:gd name="T4" fmla="*/ 374 w 1217"/>
                <a:gd name="T5" fmla="*/ 161 h 1271"/>
                <a:gd name="T6" fmla="*/ 308 w 1217"/>
                <a:gd name="T7" fmla="*/ 238 h 1271"/>
                <a:gd name="T8" fmla="*/ 199 w 1217"/>
                <a:gd name="T9" fmla="*/ 181 h 1271"/>
                <a:gd name="T10" fmla="*/ 140 w 1217"/>
                <a:gd name="T11" fmla="*/ 233 h 1271"/>
                <a:gd name="T12" fmla="*/ 101 w 1217"/>
                <a:gd name="T13" fmla="*/ 305 h 1271"/>
                <a:gd name="T14" fmla="*/ 40 w 1217"/>
                <a:gd name="T15" fmla="*/ 431 h 1271"/>
                <a:gd name="T16" fmla="*/ 59 w 1217"/>
                <a:gd name="T17" fmla="*/ 477 h 1271"/>
                <a:gd name="T18" fmla="*/ 125 w 1217"/>
                <a:gd name="T19" fmla="*/ 550 h 1271"/>
                <a:gd name="T20" fmla="*/ 228 w 1217"/>
                <a:gd name="T21" fmla="*/ 559 h 1271"/>
                <a:gd name="T22" fmla="*/ 273 w 1217"/>
                <a:gd name="T23" fmla="*/ 609 h 1271"/>
                <a:gd name="T24" fmla="*/ 262 w 1217"/>
                <a:gd name="T25" fmla="*/ 720 h 1271"/>
                <a:gd name="T26" fmla="*/ 186 w 1217"/>
                <a:gd name="T27" fmla="*/ 800 h 1271"/>
                <a:gd name="T28" fmla="*/ 207 w 1217"/>
                <a:gd name="T29" fmla="*/ 873 h 1271"/>
                <a:gd name="T30" fmla="*/ 280 w 1217"/>
                <a:gd name="T31" fmla="*/ 883 h 1271"/>
                <a:gd name="T32" fmla="*/ 321 w 1217"/>
                <a:gd name="T33" fmla="*/ 965 h 1271"/>
                <a:gd name="T34" fmla="*/ 389 w 1217"/>
                <a:gd name="T35" fmla="*/ 1135 h 1271"/>
                <a:gd name="T36" fmla="*/ 494 w 1217"/>
                <a:gd name="T37" fmla="*/ 1189 h 1271"/>
                <a:gd name="T38" fmla="*/ 597 w 1217"/>
                <a:gd name="T39" fmla="*/ 1161 h 1271"/>
                <a:gd name="T40" fmla="*/ 568 w 1217"/>
                <a:gd name="T41" fmla="*/ 1247 h 1271"/>
                <a:gd name="T42" fmla="*/ 688 w 1217"/>
                <a:gd name="T43" fmla="*/ 1165 h 1271"/>
                <a:gd name="T44" fmla="*/ 878 w 1217"/>
                <a:gd name="T45" fmla="*/ 1209 h 1271"/>
                <a:gd name="T46" fmla="*/ 942 w 1217"/>
                <a:gd name="T47" fmla="*/ 1241 h 1271"/>
                <a:gd name="T48" fmla="*/ 1009 w 1217"/>
                <a:gd name="T49" fmla="*/ 1181 h 1271"/>
                <a:gd name="T50" fmla="*/ 1070 w 1217"/>
                <a:gd name="T51" fmla="*/ 1079 h 1271"/>
                <a:gd name="T52" fmla="*/ 1065 w 1217"/>
                <a:gd name="T53" fmla="*/ 992 h 1271"/>
                <a:gd name="T54" fmla="*/ 1175 w 1217"/>
                <a:gd name="T55" fmla="*/ 947 h 1271"/>
                <a:gd name="T56" fmla="*/ 1199 w 1217"/>
                <a:gd name="T57" fmla="*/ 803 h 1271"/>
                <a:gd name="T58" fmla="*/ 1081 w 1217"/>
                <a:gd name="T59" fmla="*/ 744 h 1271"/>
                <a:gd name="T60" fmla="*/ 991 w 1217"/>
                <a:gd name="T61" fmla="*/ 717 h 1271"/>
                <a:gd name="T62" fmla="*/ 906 w 1217"/>
                <a:gd name="T63" fmla="*/ 643 h 1271"/>
                <a:gd name="T64" fmla="*/ 872 w 1217"/>
                <a:gd name="T65" fmla="*/ 562 h 1271"/>
                <a:gd name="T66" fmla="*/ 888 w 1217"/>
                <a:gd name="T67" fmla="*/ 455 h 1271"/>
                <a:gd name="T68" fmla="*/ 1011 w 1217"/>
                <a:gd name="T69" fmla="*/ 444 h 1271"/>
                <a:gd name="T70" fmla="*/ 955 w 1217"/>
                <a:gd name="T71" fmla="*/ 338 h 1271"/>
                <a:gd name="T72" fmla="*/ 898 w 1217"/>
                <a:gd name="T73" fmla="*/ 402 h 1271"/>
                <a:gd name="T74" fmla="*/ 767 w 1217"/>
                <a:gd name="T75" fmla="*/ 315 h 1271"/>
                <a:gd name="T76" fmla="*/ 726 w 1217"/>
                <a:gd name="T77" fmla="*/ 243 h 1271"/>
                <a:gd name="T78" fmla="*/ 682 w 1217"/>
                <a:gd name="T79" fmla="*/ 180 h 1271"/>
                <a:gd name="T80" fmla="*/ 605 w 1217"/>
                <a:gd name="T81" fmla="*/ 138 h 1271"/>
                <a:gd name="T82" fmla="*/ 498 w 1217"/>
                <a:gd name="T83" fmla="*/ 98 h 1271"/>
                <a:gd name="T84" fmla="*/ 420 w 1217"/>
                <a:gd name="T85" fmla="*/ 72 h 1271"/>
                <a:gd name="T86" fmla="*/ 289 w 1217"/>
                <a:gd name="T87" fmla="*/ 5 h 1271"/>
                <a:gd name="T88" fmla="*/ 256 w 1217"/>
                <a:gd name="T89" fmla="*/ 26 h 1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17" h="1271">
                  <a:moveTo>
                    <a:pt x="256" y="26"/>
                  </a:moveTo>
                  <a:cubicBezTo>
                    <a:pt x="252" y="28"/>
                    <a:pt x="246" y="31"/>
                    <a:pt x="240" y="33"/>
                  </a:cubicBezTo>
                  <a:cubicBezTo>
                    <a:pt x="245" y="44"/>
                    <a:pt x="246" y="58"/>
                    <a:pt x="252" y="66"/>
                  </a:cubicBezTo>
                  <a:cubicBezTo>
                    <a:pt x="262" y="81"/>
                    <a:pt x="276" y="88"/>
                    <a:pt x="308" y="88"/>
                  </a:cubicBezTo>
                  <a:cubicBezTo>
                    <a:pt x="341" y="88"/>
                    <a:pt x="348" y="101"/>
                    <a:pt x="348" y="118"/>
                  </a:cubicBezTo>
                  <a:cubicBezTo>
                    <a:pt x="348" y="135"/>
                    <a:pt x="354" y="140"/>
                    <a:pt x="374" y="161"/>
                  </a:cubicBezTo>
                  <a:cubicBezTo>
                    <a:pt x="394" y="181"/>
                    <a:pt x="367" y="192"/>
                    <a:pt x="337" y="203"/>
                  </a:cubicBezTo>
                  <a:cubicBezTo>
                    <a:pt x="306" y="214"/>
                    <a:pt x="321" y="229"/>
                    <a:pt x="308" y="238"/>
                  </a:cubicBezTo>
                  <a:cubicBezTo>
                    <a:pt x="295" y="248"/>
                    <a:pt x="249" y="235"/>
                    <a:pt x="245" y="216"/>
                  </a:cubicBezTo>
                  <a:cubicBezTo>
                    <a:pt x="241" y="198"/>
                    <a:pt x="223" y="203"/>
                    <a:pt x="199" y="181"/>
                  </a:cubicBezTo>
                  <a:cubicBezTo>
                    <a:pt x="175" y="159"/>
                    <a:pt x="155" y="183"/>
                    <a:pt x="136" y="188"/>
                  </a:cubicBezTo>
                  <a:cubicBezTo>
                    <a:pt x="116" y="194"/>
                    <a:pt x="125" y="212"/>
                    <a:pt x="140" y="233"/>
                  </a:cubicBezTo>
                  <a:cubicBezTo>
                    <a:pt x="155" y="253"/>
                    <a:pt x="134" y="261"/>
                    <a:pt x="151" y="285"/>
                  </a:cubicBezTo>
                  <a:cubicBezTo>
                    <a:pt x="169" y="309"/>
                    <a:pt x="136" y="303"/>
                    <a:pt x="101" y="305"/>
                  </a:cubicBezTo>
                  <a:cubicBezTo>
                    <a:pt x="66" y="307"/>
                    <a:pt x="103" y="366"/>
                    <a:pt x="99" y="398"/>
                  </a:cubicBezTo>
                  <a:cubicBezTo>
                    <a:pt x="94" y="429"/>
                    <a:pt x="64" y="433"/>
                    <a:pt x="40" y="431"/>
                  </a:cubicBezTo>
                  <a:cubicBezTo>
                    <a:pt x="16" y="429"/>
                    <a:pt x="0" y="420"/>
                    <a:pt x="3" y="446"/>
                  </a:cubicBezTo>
                  <a:cubicBezTo>
                    <a:pt x="5" y="472"/>
                    <a:pt x="22" y="472"/>
                    <a:pt x="59" y="477"/>
                  </a:cubicBezTo>
                  <a:cubicBezTo>
                    <a:pt x="96" y="483"/>
                    <a:pt x="86" y="507"/>
                    <a:pt x="86" y="528"/>
                  </a:cubicBezTo>
                  <a:cubicBezTo>
                    <a:pt x="86" y="548"/>
                    <a:pt x="105" y="555"/>
                    <a:pt x="125" y="550"/>
                  </a:cubicBezTo>
                  <a:cubicBezTo>
                    <a:pt x="145" y="544"/>
                    <a:pt x="155" y="566"/>
                    <a:pt x="169" y="578"/>
                  </a:cubicBezTo>
                  <a:cubicBezTo>
                    <a:pt x="182" y="589"/>
                    <a:pt x="195" y="603"/>
                    <a:pt x="228" y="559"/>
                  </a:cubicBezTo>
                  <a:cubicBezTo>
                    <a:pt x="260" y="515"/>
                    <a:pt x="256" y="553"/>
                    <a:pt x="256" y="565"/>
                  </a:cubicBezTo>
                  <a:cubicBezTo>
                    <a:pt x="256" y="576"/>
                    <a:pt x="256" y="583"/>
                    <a:pt x="273" y="609"/>
                  </a:cubicBezTo>
                  <a:cubicBezTo>
                    <a:pt x="291" y="635"/>
                    <a:pt x="286" y="655"/>
                    <a:pt x="289" y="685"/>
                  </a:cubicBezTo>
                  <a:cubicBezTo>
                    <a:pt x="291" y="715"/>
                    <a:pt x="289" y="713"/>
                    <a:pt x="262" y="720"/>
                  </a:cubicBezTo>
                  <a:cubicBezTo>
                    <a:pt x="236" y="728"/>
                    <a:pt x="236" y="741"/>
                    <a:pt x="204" y="750"/>
                  </a:cubicBezTo>
                  <a:cubicBezTo>
                    <a:pt x="171" y="759"/>
                    <a:pt x="188" y="770"/>
                    <a:pt x="186" y="800"/>
                  </a:cubicBezTo>
                  <a:cubicBezTo>
                    <a:pt x="185" y="814"/>
                    <a:pt x="181" y="829"/>
                    <a:pt x="177" y="840"/>
                  </a:cubicBezTo>
                  <a:cubicBezTo>
                    <a:pt x="187" y="847"/>
                    <a:pt x="196" y="861"/>
                    <a:pt x="207" y="873"/>
                  </a:cubicBezTo>
                  <a:cubicBezTo>
                    <a:pt x="222" y="890"/>
                    <a:pt x="230" y="883"/>
                    <a:pt x="246" y="877"/>
                  </a:cubicBezTo>
                  <a:cubicBezTo>
                    <a:pt x="262" y="870"/>
                    <a:pt x="254" y="871"/>
                    <a:pt x="280" y="883"/>
                  </a:cubicBezTo>
                  <a:cubicBezTo>
                    <a:pt x="306" y="895"/>
                    <a:pt x="293" y="883"/>
                    <a:pt x="328" y="906"/>
                  </a:cubicBezTo>
                  <a:cubicBezTo>
                    <a:pt x="363" y="928"/>
                    <a:pt x="345" y="943"/>
                    <a:pt x="321" y="965"/>
                  </a:cubicBezTo>
                  <a:cubicBezTo>
                    <a:pt x="297" y="987"/>
                    <a:pt x="343" y="1006"/>
                    <a:pt x="339" y="1050"/>
                  </a:cubicBezTo>
                  <a:cubicBezTo>
                    <a:pt x="335" y="1095"/>
                    <a:pt x="367" y="1106"/>
                    <a:pt x="389" y="1135"/>
                  </a:cubicBezTo>
                  <a:cubicBezTo>
                    <a:pt x="411" y="1165"/>
                    <a:pt x="404" y="1184"/>
                    <a:pt x="424" y="1206"/>
                  </a:cubicBezTo>
                  <a:cubicBezTo>
                    <a:pt x="444" y="1228"/>
                    <a:pt x="470" y="1200"/>
                    <a:pt x="494" y="1189"/>
                  </a:cubicBezTo>
                  <a:cubicBezTo>
                    <a:pt x="518" y="1178"/>
                    <a:pt x="529" y="1150"/>
                    <a:pt x="546" y="1134"/>
                  </a:cubicBezTo>
                  <a:cubicBezTo>
                    <a:pt x="564" y="1117"/>
                    <a:pt x="586" y="1143"/>
                    <a:pt x="597" y="1161"/>
                  </a:cubicBezTo>
                  <a:cubicBezTo>
                    <a:pt x="608" y="1180"/>
                    <a:pt x="588" y="1195"/>
                    <a:pt x="573" y="1206"/>
                  </a:cubicBezTo>
                  <a:cubicBezTo>
                    <a:pt x="557" y="1217"/>
                    <a:pt x="542" y="1222"/>
                    <a:pt x="568" y="1247"/>
                  </a:cubicBezTo>
                  <a:cubicBezTo>
                    <a:pt x="594" y="1271"/>
                    <a:pt x="612" y="1241"/>
                    <a:pt x="634" y="1219"/>
                  </a:cubicBezTo>
                  <a:cubicBezTo>
                    <a:pt x="656" y="1197"/>
                    <a:pt x="649" y="1193"/>
                    <a:pt x="688" y="1165"/>
                  </a:cubicBezTo>
                  <a:cubicBezTo>
                    <a:pt x="728" y="1137"/>
                    <a:pt x="739" y="1193"/>
                    <a:pt x="769" y="1211"/>
                  </a:cubicBezTo>
                  <a:cubicBezTo>
                    <a:pt x="800" y="1230"/>
                    <a:pt x="848" y="1217"/>
                    <a:pt x="878" y="1209"/>
                  </a:cubicBezTo>
                  <a:cubicBezTo>
                    <a:pt x="909" y="1202"/>
                    <a:pt x="905" y="1219"/>
                    <a:pt x="935" y="1235"/>
                  </a:cubicBezTo>
                  <a:cubicBezTo>
                    <a:pt x="939" y="1237"/>
                    <a:pt x="941" y="1239"/>
                    <a:pt x="942" y="1241"/>
                  </a:cubicBezTo>
                  <a:cubicBezTo>
                    <a:pt x="956" y="1238"/>
                    <a:pt x="969" y="1232"/>
                    <a:pt x="973" y="1222"/>
                  </a:cubicBezTo>
                  <a:cubicBezTo>
                    <a:pt x="983" y="1200"/>
                    <a:pt x="995" y="1192"/>
                    <a:pt x="1009" y="1181"/>
                  </a:cubicBezTo>
                  <a:cubicBezTo>
                    <a:pt x="1024" y="1170"/>
                    <a:pt x="1049" y="1159"/>
                    <a:pt x="1052" y="1136"/>
                  </a:cubicBezTo>
                  <a:cubicBezTo>
                    <a:pt x="1055" y="1114"/>
                    <a:pt x="1057" y="1093"/>
                    <a:pt x="1070" y="1079"/>
                  </a:cubicBezTo>
                  <a:cubicBezTo>
                    <a:pt x="1083" y="1065"/>
                    <a:pt x="1096" y="1056"/>
                    <a:pt x="1083" y="1040"/>
                  </a:cubicBezTo>
                  <a:cubicBezTo>
                    <a:pt x="1070" y="1025"/>
                    <a:pt x="1029" y="1000"/>
                    <a:pt x="1065" y="992"/>
                  </a:cubicBezTo>
                  <a:cubicBezTo>
                    <a:pt x="1101" y="983"/>
                    <a:pt x="1113" y="982"/>
                    <a:pt x="1132" y="975"/>
                  </a:cubicBezTo>
                  <a:cubicBezTo>
                    <a:pt x="1152" y="968"/>
                    <a:pt x="1190" y="967"/>
                    <a:pt x="1175" y="947"/>
                  </a:cubicBezTo>
                  <a:cubicBezTo>
                    <a:pt x="1160" y="928"/>
                    <a:pt x="1132" y="915"/>
                    <a:pt x="1157" y="894"/>
                  </a:cubicBezTo>
                  <a:cubicBezTo>
                    <a:pt x="1181" y="874"/>
                    <a:pt x="1217" y="833"/>
                    <a:pt x="1199" y="803"/>
                  </a:cubicBezTo>
                  <a:cubicBezTo>
                    <a:pt x="1181" y="772"/>
                    <a:pt x="1190" y="760"/>
                    <a:pt x="1162" y="758"/>
                  </a:cubicBezTo>
                  <a:cubicBezTo>
                    <a:pt x="1134" y="757"/>
                    <a:pt x="1118" y="715"/>
                    <a:pt x="1081" y="744"/>
                  </a:cubicBezTo>
                  <a:cubicBezTo>
                    <a:pt x="1045" y="774"/>
                    <a:pt x="1011" y="776"/>
                    <a:pt x="998" y="764"/>
                  </a:cubicBezTo>
                  <a:cubicBezTo>
                    <a:pt x="985" y="751"/>
                    <a:pt x="986" y="742"/>
                    <a:pt x="991" y="717"/>
                  </a:cubicBezTo>
                  <a:cubicBezTo>
                    <a:pt x="996" y="692"/>
                    <a:pt x="1011" y="683"/>
                    <a:pt x="978" y="671"/>
                  </a:cubicBezTo>
                  <a:cubicBezTo>
                    <a:pt x="946" y="658"/>
                    <a:pt x="926" y="661"/>
                    <a:pt x="906" y="643"/>
                  </a:cubicBezTo>
                  <a:cubicBezTo>
                    <a:pt x="887" y="625"/>
                    <a:pt x="872" y="628"/>
                    <a:pt x="869" y="608"/>
                  </a:cubicBezTo>
                  <a:cubicBezTo>
                    <a:pt x="865" y="589"/>
                    <a:pt x="842" y="579"/>
                    <a:pt x="872" y="562"/>
                  </a:cubicBezTo>
                  <a:cubicBezTo>
                    <a:pt x="901" y="546"/>
                    <a:pt x="919" y="536"/>
                    <a:pt x="919" y="508"/>
                  </a:cubicBezTo>
                  <a:cubicBezTo>
                    <a:pt x="919" y="480"/>
                    <a:pt x="891" y="466"/>
                    <a:pt x="888" y="455"/>
                  </a:cubicBezTo>
                  <a:cubicBezTo>
                    <a:pt x="885" y="444"/>
                    <a:pt x="916" y="411"/>
                    <a:pt x="942" y="429"/>
                  </a:cubicBezTo>
                  <a:cubicBezTo>
                    <a:pt x="968" y="447"/>
                    <a:pt x="991" y="455"/>
                    <a:pt x="1011" y="444"/>
                  </a:cubicBezTo>
                  <a:cubicBezTo>
                    <a:pt x="1031" y="433"/>
                    <a:pt x="1027" y="415"/>
                    <a:pt x="1013" y="389"/>
                  </a:cubicBezTo>
                  <a:cubicBezTo>
                    <a:pt x="998" y="362"/>
                    <a:pt x="980" y="338"/>
                    <a:pt x="955" y="338"/>
                  </a:cubicBezTo>
                  <a:cubicBezTo>
                    <a:pt x="931" y="338"/>
                    <a:pt x="911" y="344"/>
                    <a:pt x="913" y="366"/>
                  </a:cubicBezTo>
                  <a:cubicBezTo>
                    <a:pt x="914" y="389"/>
                    <a:pt x="918" y="400"/>
                    <a:pt x="898" y="402"/>
                  </a:cubicBezTo>
                  <a:cubicBezTo>
                    <a:pt x="878" y="405"/>
                    <a:pt x="833" y="425"/>
                    <a:pt x="810" y="402"/>
                  </a:cubicBezTo>
                  <a:cubicBezTo>
                    <a:pt x="787" y="380"/>
                    <a:pt x="790" y="315"/>
                    <a:pt x="767" y="315"/>
                  </a:cubicBezTo>
                  <a:cubicBezTo>
                    <a:pt x="744" y="315"/>
                    <a:pt x="701" y="315"/>
                    <a:pt x="705" y="297"/>
                  </a:cubicBezTo>
                  <a:cubicBezTo>
                    <a:pt x="708" y="279"/>
                    <a:pt x="700" y="259"/>
                    <a:pt x="726" y="243"/>
                  </a:cubicBezTo>
                  <a:cubicBezTo>
                    <a:pt x="752" y="226"/>
                    <a:pt x="749" y="208"/>
                    <a:pt x="731" y="191"/>
                  </a:cubicBezTo>
                  <a:cubicBezTo>
                    <a:pt x="713" y="174"/>
                    <a:pt x="695" y="162"/>
                    <a:pt x="682" y="180"/>
                  </a:cubicBezTo>
                  <a:cubicBezTo>
                    <a:pt x="669" y="198"/>
                    <a:pt x="657" y="208"/>
                    <a:pt x="644" y="187"/>
                  </a:cubicBezTo>
                  <a:cubicBezTo>
                    <a:pt x="631" y="166"/>
                    <a:pt x="624" y="154"/>
                    <a:pt x="605" y="138"/>
                  </a:cubicBezTo>
                  <a:cubicBezTo>
                    <a:pt x="585" y="123"/>
                    <a:pt x="585" y="116"/>
                    <a:pt x="541" y="117"/>
                  </a:cubicBezTo>
                  <a:cubicBezTo>
                    <a:pt x="497" y="119"/>
                    <a:pt x="503" y="111"/>
                    <a:pt x="498" y="98"/>
                  </a:cubicBezTo>
                  <a:cubicBezTo>
                    <a:pt x="493" y="86"/>
                    <a:pt x="492" y="80"/>
                    <a:pt x="474" y="81"/>
                  </a:cubicBezTo>
                  <a:cubicBezTo>
                    <a:pt x="456" y="83"/>
                    <a:pt x="436" y="90"/>
                    <a:pt x="420" y="72"/>
                  </a:cubicBezTo>
                  <a:cubicBezTo>
                    <a:pt x="403" y="54"/>
                    <a:pt x="371" y="47"/>
                    <a:pt x="346" y="34"/>
                  </a:cubicBezTo>
                  <a:cubicBezTo>
                    <a:pt x="321" y="22"/>
                    <a:pt x="292" y="19"/>
                    <a:pt x="289" y="5"/>
                  </a:cubicBezTo>
                  <a:cubicBezTo>
                    <a:pt x="288" y="4"/>
                    <a:pt x="288" y="2"/>
                    <a:pt x="288" y="0"/>
                  </a:cubicBezTo>
                  <a:cubicBezTo>
                    <a:pt x="273" y="7"/>
                    <a:pt x="264" y="22"/>
                    <a:pt x="256" y="26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" name="Freeform 28"/>
            <p:cNvSpPr>
              <a:spLocks/>
            </p:cNvSpPr>
            <p:nvPr/>
          </p:nvSpPr>
          <p:spPr bwMode="auto">
            <a:xfrm>
              <a:off x="4378" y="2218"/>
              <a:ext cx="671" cy="469"/>
            </a:xfrm>
            <a:custGeom>
              <a:avLst/>
              <a:gdLst>
                <a:gd name="T0" fmla="*/ 963 w 1448"/>
                <a:gd name="T1" fmla="*/ 946 h 1013"/>
                <a:gd name="T2" fmla="*/ 1032 w 1448"/>
                <a:gd name="T3" fmla="*/ 991 h 1013"/>
                <a:gd name="T4" fmla="*/ 1119 w 1448"/>
                <a:gd name="T5" fmla="*/ 992 h 1013"/>
                <a:gd name="T6" fmla="*/ 1191 w 1448"/>
                <a:gd name="T7" fmla="*/ 977 h 1013"/>
                <a:gd name="T8" fmla="*/ 1232 w 1448"/>
                <a:gd name="T9" fmla="*/ 927 h 1013"/>
                <a:gd name="T10" fmla="*/ 1251 w 1448"/>
                <a:gd name="T11" fmla="*/ 843 h 1013"/>
                <a:gd name="T12" fmla="*/ 1246 w 1448"/>
                <a:gd name="T13" fmla="*/ 782 h 1013"/>
                <a:gd name="T14" fmla="*/ 1274 w 1448"/>
                <a:gd name="T15" fmla="*/ 742 h 1013"/>
                <a:gd name="T16" fmla="*/ 1440 w 1448"/>
                <a:gd name="T17" fmla="*/ 785 h 1013"/>
                <a:gd name="T18" fmla="*/ 1370 w 1448"/>
                <a:gd name="T19" fmla="*/ 656 h 1013"/>
                <a:gd name="T20" fmla="*/ 1221 w 1448"/>
                <a:gd name="T21" fmla="*/ 567 h 1013"/>
                <a:gd name="T22" fmla="*/ 1156 w 1448"/>
                <a:gd name="T23" fmla="*/ 474 h 1013"/>
                <a:gd name="T24" fmla="*/ 968 w 1448"/>
                <a:gd name="T25" fmla="*/ 266 h 1013"/>
                <a:gd name="T26" fmla="*/ 867 w 1448"/>
                <a:gd name="T27" fmla="*/ 148 h 1013"/>
                <a:gd name="T28" fmla="*/ 649 w 1448"/>
                <a:gd name="T29" fmla="*/ 52 h 1013"/>
                <a:gd name="T30" fmla="*/ 571 w 1448"/>
                <a:gd name="T31" fmla="*/ 29 h 1013"/>
                <a:gd name="T32" fmla="*/ 478 w 1448"/>
                <a:gd name="T33" fmla="*/ 133 h 1013"/>
                <a:gd name="T34" fmla="*/ 409 w 1448"/>
                <a:gd name="T35" fmla="*/ 191 h 1013"/>
                <a:gd name="T36" fmla="*/ 331 w 1448"/>
                <a:gd name="T37" fmla="*/ 176 h 1013"/>
                <a:gd name="T38" fmla="*/ 250 w 1448"/>
                <a:gd name="T39" fmla="*/ 211 h 1013"/>
                <a:gd name="T40" fmla="*/ 116 w 1448"/>
                <a:gd name="T41" fmla="*/ 134 h 1013"/>
                <a:gd name="T42" fmla="*/ 5 w 1448"/>
                <a:gd name="T43" fmla="*/ 151 h 1013"/>
                <a:gd name="T44" fmla="*/ 62 w 1448"/>
                <a:gd name="T45" fmla="*/ 240 h 1013"/>
                <a:gd name="T46" fmla="*/ 190 w 1448"/>
                <a:gd name="T47" fmla="*/ 287 h 1013"/>
                <a:gd name="T48" fmla="*/ 257 w 1448"/>
                <a:gd name="T49" fmla="*/ 323 h 1013"/>
                <a:gd name="T50" fmla="*/ 360 w 1448"/>
                <a:gd name="T51" fmla="*/ 393 h 1013"/>
                <a:gd name="T52" fmla="*/ 447 w 1448"/>
                <a:gd name="T53" fmla="*/ 397 h 1013"/>
                <a:gd name="T54" fmla="*/ 421 w 1448"/>
                <a:gd name="T55" fmla="*/ 503 h 1013"/>
                <a:gd name="T56" fmla="*/ 526 w 1448"/>
                <a:gd name="T57" fmla="*/ 608 h 1013"/>
                <a:gd name="T58" fmla="*/ 629 w 1448"/>
                <a:gd name="T59" fmla="*/ 572 h 1013"/>
                <a:gd name="T60" fmla="*/ 729 w 1448"/>
                <a:gd name="T61" fmla="*/ 595 h 1013"/>
                <a:gd name="T62" fmla="*/ 658 w 1448"/>
                <a:gd name="T63" fmla="*/ 635 h 1013"/>
                <a:gd name="T64" fmla="*/ 635 w 1448"/>
                <a:gd name="T65" fmla="*/ 714 h 1013"/>
                <a:gd name="T66" fmla="*/ 585 w 1448"/>
                <a:gd name="T67" fmla="*/ 814 h 1013"/>
                <a:gd name="T68" fmla="*/ 694 w 1448"/>
                <a:gd name="T69" fmla="*/ 877 h 1013"/>
                <a:gd name="T70" fmla="*/ 714 w 1448"/>
                <a:gd name="T71" fmla="*/ 970 h 1013"/>
                <a:gd name="T72" fmla="*/ 878 w 1448"/>
                <a:gd name="T73" fmla="*/ 964 h 1013"/>
                <a:gd name="T74" fmla="*/ 919 w 1448"/>
                <a:gd name="T75" fmla="*/ 963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48" h="1013">
                  <a:moveTo>
                    <a:pt x="919" y="963"/>
                  </a:moveTo>
                  <a:cubicBezTo>
                    <a:pt x="922" y="950"/>
                    <a:pt x="951" y="956"/>
                    <a:pt x="963" y="946"/>
                  </a:cubicBezTo>
                  <a:cubicBezTo>
                    <a:pt x="974" y="936"/>
                    <a:pt x="992" y="955"/>
                    <a:pt x="997" y="967"/>
                  </a:cubicBezTo>
                  <a:cubicBezTo>
                    <a:pt x="1002" y="980"/>
                    <a:pt x="1012" y="984"/>
                    <a:pt x="1032" y="991"/>
                  </a:cubicBezTo>
                  <a:cubicBezTo>
                    <a:pt x="1051" y="998"/>
                    <a:pt x="1051" y="1005"/>
                    <a:pt x="1073" y="996"/>
                  </a:cubicBezTo>
                  <a:cubicBezTo>
                    <a:pt x="1094" y="988"/>
                    <a:pt x="1102" y="971"/>
                    <a:pt x="1119" y="992"/>
                  </a:cubicBezTo>
                  <a:cubicBezTo>
                    <a:pt x="1135" y="1013"/>
                    <a:pt x="1140" y="1006"/>
                    <a:pt x="1160" y="1000"/>
                  </a:cubicBezTo>
                  <a:cubicBezTo>
                    <a:pt x="1179" y="995"/>
                    <a:pt x="1191" y="993"/>
                    <a:pt x="1191" y="977"/>
                  </a:cubicBezTo>
                  <a:cubicBezTo>
                    <a:pt x="1191" y="960"/>
                    <a:pt x="1196" y="960"/>
                    <a:pt x="1209" y="953"/>
                  </a:cubicBezTo>
                  <a:cubicBezTo>
                    <a:pt x="1222" y="946"/>
                    <a:pt x="1227" y="949"/>
                    <a:pt x="1232" y="927"/>
                  </a:cubicBezTo>
                  <a:cubicBezTo>
                    <a:pt x="1237" y="904"/>
                    <a:pt x="1255" y="910"/>
                    <a:pt x="1258" y="888"/>
                  </a:cubicBezTo>
                  <a:cubicBezTo>
                    <a:pt x="1261" y="866"/>
                    <a:pt x="1228" y="850"/>
                    <a:pt x="1251" y="843"/>
                  </a:cubicBezTo>
                  <a:cubicBezTo>
                    <a:pt x="1274" y="836"/>
                    <a:pt x="1294" y="838"/>
                    <a:pt x="1284" y="820"/>
                  </a:cubicBezTo>
                  <a:cubicBezTo>
                    <a:pt x="1274" y="802"/>
                    <a:pt x="1264" y="796"/>
                    <a:pt x="1246" y="782"/>
                  </a:cubicBezTo>
                  <a:cubicBezTo>
                    <a:pt x="1228" y="768"/>
                    <a:pt x="1223" y="749"/>
                    <a:pt x="1240" y="745"/>
                  </a:cubicBezTo>
                  <a:cubicBezTo>
                    <a:pt x="1252" y="741"/>
                    <a:pt x="1252" y="733"/>
                    <a:pt x="1274" y="742"/>
                  </a:cubicBezTo>
                  <a:cubicBezTo>
                    <a:pt x="1276" y="736"/>
                    <a:pt x="1285" y="734"/>
                    <a:pt x="1304" y="741"/>
                  </a:cubicBezTo>
                  <a:cubicBezTo>
                    <a:pt x="1365" y="763"/>
                    <a:pt x="1431" y="811"/>
                    <a:pt x="1440" y="785"/>
                  </a:cubicBezTo>
                  <a:cubicBezTo>
                    <a:pt x="1448" y="759"/>
                    <a:pt x="1413" y="730"/>
                    <a:pt x="1413" y="700"/>
                  </a:cubicBezTo>
                  <a:cubicBezTo>
                    <a:pt x="1413" y="670"/>
                    <a:pt x="1400" y="656"/>
                    <a:pt x="1370" y="656"/>
                  </a:cubicBezTo>
                  <a:cubicBezTo>
                    <a:pt x="1339" y="656"/>
                    <a:pt x="1304" y="659"/>
                    <a:pt x="1291" y="630"/>
                  </a:cubicBezTo>
                  <a:cubicBezTo>
                    <a:pt x="1278" y="600"/>
                    <a:pt x="1269" y="567"/>
                    <a:pt x="1221" y="567"/>
                  </a:cubicBezTo>
                  <a:cubicBezTo>
                    <a:pt x="1173" y="567"/>
                    <a:pt x="1147" y="552"/>
                    <a:pt x="1147" y="530"/>
                  </a:cubicBezTo>
                  <a:cubicBezTo>
                    <a:pt x="1147" y="507"/>
                    <a:pt x="1195" y="504"/>
                    <a:pt x="1156" y="474"/>
                  </a:cubicBezTo>
                  <a:cubicBezTo>
                    <a:pt x="1116" y="444"/>
                    <a:pt x="1042" y="374"/>
                    <a:pt x="1025" y="341"/>
                  </a:cubicBezTo>
                  <a:cubicBezTo>
                    <a:pt x="1007" y="307"/>
                    <a:pt x="1012" y="292"/>
                    <a:pt x="968" y="266"/>
                  </a:cubicBezTo>
                  <a:cubicBezTo>
                    <a:pt x="924" y="241"/>
                    <a:pt x="924" y="244"/>
                    <a:pt x="929" y="215"/>
                  </a:cubicBezTo>
                  <a:cubicBezTo>
                    <a:pt x="933" y="185"/>
                    <a:pt x="907" y="159"/>
                    <a:pt x="867" y="148"/>
                  </a:cubicBezTo>
                  <a:cubicBezTo>
                    <a:pt x="828" y="137"/>
                    <a:pt x="780" y="140"/>
                    <a:pt x="749" y="118"/>
                  </a:cubicBezTo>
                  <a:cubicBezTo>
                    <a:pt x="719" y="96"/>
                    <a:pt x="653" y="89"/>
                    <a:pt x="649" y="52"/>
                  </a:cubicBezTo>
                  <a:cubicBezTo>
                    <a:pt x="646" y="29"/>
                    <a:pt x="649" y="23"/>
                    <a:pt x="658" y="10"/>
                  </a:cubicBezTo>
                  <a:cubicBezTo>
                    <a:pt x="596" y="0"/>
                    <a:pt x="600" y="13"/>
                    <a:pt x="571" y="29"/>
                  </a:cubicBezTo>
                  <a:cubicBezTo>
                    <a:pt x="539" y="47"/>
                    <a:pt x="549" y="65"/>
                    <a:pt x="544" y="97"/>
                  </a:cubicBezTo>
                  <a:cubicBezTo>
                    <a:pt x="539" y="129"/>
                    <a:pt x="509" y="130"/>
                    <a:pt x="478" y="133"/>
                  </a:cubicBezTo>
                  <a:cubicBezTo>
                    <a:pt x="447" y="136"/>
                    <a:pt x="458" y="164"/>
                    <a:pt x="449" y="183"/>
                  </a:cubicBezTo>
                  <a:cubicBezTo>
                    <a:pt x="439" y="203"/>
                    <a:pt x="414" y="194"/>
                    <a:pt x="409" y="191"/>
                  </a:cubicBezTo>
                  <a:cubicBezTo>
                    <a:pt x="404" y="189"/>
                    <a:pt x="401" y="169"/>
                    <a:pt x="381" y="154"/>
                  </a:cubicBezTo>
                  <a:cubicBezTo>
                    <a:pt x="331" y="140"/>
                    <a:pt x="329" y="159"/>
                    <a:pt x="331" y="176"/>
                  </a:cubicBezTo>
                  <a:cubicBezTo>
                    <a:pt x="332" y="193"/>
                    <a:pt x="319" y="189"/>
                    <a:pt x="298" y="204"/>
                  </a:cubicBezTo>
                  <a:cubicBezTo>
                    <a:pt x="277" y="219"/>
                    <a:pt x="275" y="239"/>
                    <a:pt x="250" y="211"/>
                  </a:cubicBezTo>
                  <a:cubicBezTo>
                    <a:pt x="226" y="183"/>
                    <a:pt x="196" y="215"/>
                    <a:pt x="182" y="204"/>
                  </a:cubicBezTo>
                  <a:cubicBezTo>
                    <a:pt x="167" y="193"/>
                    <a:pt x="141" y="158"/>
                    <a:pt x="116" y="134"/>
                  </a:cubicBezTo>
                  <a:cubicBezTo>
                    <a:pt x="91" y="111"/>
                    <a:pt x="73" y="118"/>
                    <a:pt x="42" y="132"/>
                  </a:cubicBezTo>
                  <a:cubicBezTo>
                    <a:pt x="11" y="146"/>
                    <a:pt x="10" y="137"/>
                    <a:pt x="5" y="151"/>
                  </a:cubicBezTo>
                  <a:cubicBezTo>
                    <a:pt x="0" y="165"/>
                    <a:pt x="1" y="197"/>
                    <a:pt x="5" y="211"/>
                  </a:cubicBezTo>
                  <a:cubicBezTo>
                    <a:pt x="8" y="225"/>
                    <a:pt x="37" y="228"/>
                    <a:pt x="62" y="240"/>
                  </a:cubicBezTo>
                  <a:cubicBezTo>
                    <a:pt x="87" y="253"/>
                    <a:pt x="119" y="260"/>
                    <a:pt x="136" y="278"/>
                  </a:cubicBezTo>
                  <a:cubicBezTo>
                    <a:pt x="152" y="296"/>
                    <a:pt x="172" y="289"/>
                    <a:pt x="190" y="287"/>
                  </a:cubicBezTo>
                  <a:cubicBezTo>
                    <a:pt x="208" y="286"/>
                    <a:pt x="209" y="292"/>
                    <a:pt x="214" y="304"/>
                  </a:cubicBezTo>
                  <a:cubicBezTo>
                    <a:pt x="219" y="317"/>
                    <a:pt x="213" y="325"/>
                    <a:pt x="257" y="323"/>
                  </a:cubicBezTo>
                  <a:cubicBezTo>
                    <a:pt x="301" y="322"/>
                    <a:pt x="301" y="329"/>
                    <a:pt x="321" y="344"/>
                  </a:cubicBezTo>
                  <a:cubicBezTo>
                    <a:pt x="340" y="360"/>
                    <a:pt x="347" y="372"/>
                    <a:pt x="360" y="393"/>
                  </a:cubicBezTo>
                  <a:cubicBezTo>
                    <a:pt x="373" y="414"/>
                    <a:pt x="385" y="404"/>
                    <a:pt x="398" y="386"/>
                  </a:cubicBezTo>
                  <a:cubicBezTo>
                    <a:pt x="411" y="368"/>
                    <a:pt x="429" y="380"/>
                    <a:pt x="447" y="397"/>
                  </a:cubicBezTo>
                  <a:cubicBezTo>
                    <a:pt x="465" y="414"/>
                    <a:pt x="468" y="432"/>
                    <a:pt x="442" y="449"/>
                  </a:cubicBezTo>
                  <a:cubicBezTo>
                    <a:pt x="416" y="465"/>
                    <a:pt x="424" y="485"/>
                    <a:pt x="421" y="503"/>
                  </a:cubicBezTo>
                  <a:cubicBezTo>
                    <a:pt x="417" y="521"/>
                    <a:pt x="460" y="521"/>
                    <a:pt x="483" y="521"/>
                  </a:cubicBezTo>
                  <a:cubicBezTo>
                    <a:pt x="506" y="521"/>
                    <a:pt x="503" y="586"/>
                    <a:pt x="526" y="608"/>
                  </a:cubicBezTo>
                  <a:cubicBezTo>
                    <a:pt x="549" y="631"/>
                    <a:pt x="594" y="611"/>
                    <a:pt x="614" y="608"/>
                  </a:cubicBezTo>
                  <a:cubicBezTo>
                    <a:pt x="634" y="606"/>
                    <a:pt x="630" y="595"/>
                    <a:pt x="629" y="572"/>
                  </a:cubicBezTo>
                  <a:cubicBezTo>
                    <a:pt x="627" y="550"/>
                    <a:pt x="647" y="544"/>
                    <a:pt x="671" y="544"/>
                  </a:cubicBezTo>
                  <a:cubicBezTo>
                    <a:pt x="696" y="544"/>
                    <a:pt x="714" y="568"/>
                    <a:pt x="729" y="595"/>
                  </a:cubicBezTo>
                  <a:cubicBezTo>
                    <a:pt x="743" y="621"/>
                    <a:pt x="747" y="639"/>
                    <a:pt x="727" y="650"/>
                  </a:cubicBezTo>
                  <a:cubicBezTo>
                    <a:pt x="707" y="661"/>
                    <a:pt x="684" y="653"/>
                    <a:pt x="658" y="635"/>
                  </a:cubicBezTo>
                  <a:cubicBezTo>
                    <a:pt x="632" y="617"/>
                    <a:pt x="601" y="650"/>
                    <a:pt x="604" y="661"/>
                  </a:cubicBezTo>
                  <a:cubicBezTo>
                    <a:pt x="607" y="672"/>
                    <a:pt x="635" y="686"/>
                    <a:pt x="635" y="714"/>
                  </a:cubicBezTo>
                  <a:cubicBezTo>
                    <a:pt x="635" y="742"/>
                    <a:pt x="617" y="752"/>
                    <a:pt x="588" y="768"/>
                  </a:cubicBezTo>
                  <a:cubicBezTo>
                    <a:pt x="558" y="785"/>
                    <a:pt x="581" y="795"/>
                    <a:pt x="585" y="814"/>
                  </a:cubicBezTo>
                  <a:cubicBezTo>
                    <a:pt x="588" y="834"/>
                    <a:pt x="603" y="831"/>
                    <a:pt x="622" y="849"/>
                  </a:cubicBezTo>
                  <a:cubicBezTo>
                    <a:pt x="642" y="867"/>
                    <a:pt x="662" y="864"/>
                    <a:pt x="694" y="877"/>
                  </a:cubicBezTo>
                  <a:cubicBezTo>
                    <a:pt x="727" y="889"/>
                    <a:pt x="712" y="898"/>
                    <a:pt x="707" y="923"/>
                  </a:cubicBezTo>
                  <a:cubicBezTo>
                    <a:pt x="702" y="948"/>
                    <a:pt x="701" y="957"/>
                    <a:pt x="714" y="970"/>
                  </a:cubicBezTo>
                  <a:cubicBezTo>
                    <a:pt x="727" y="982"/>
                    <a:pt x="761" y="980"/>
                    <a:pt x="797" y="950"/>
                  </a:cubicBezTo>
                  <a:cubicBezTo>
                    <a:pt x="834" y="921"/>
                    <a:pt x="850" y="963"/>
                    <a:pt x="878" y="964"/>
                  </a:cubicBezTo>
                  <a:cubicBezTo>
                    <a:pt x="892" y="965"/>
                    <a:pt x="897" y="969"/>
                    <a:pt x="901" y="976"/>
                  </a:cubicBezTo>
                  <a:cubicBezTo>
                    <a:pt x="909" y="973"/>
                    <a:pt x="917" y="969"/>
                    <a:pt x="919" y="963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" name="Freeform 29"/>
            <p:cNvSpPr>
              <a:spLocks/>
            </p:cNvSpPr>
            <p:nvPr/>
          </p:nvSpPr>
          <p:spPr bwMode="auto">
            <a:xfrm>
              <a:off x="4661" y="2651"/>
              <a:ext cx="455" cy="451"/>
            </a:xfrm>
            <a:custGeom>
              <a:avLst/>
              <a:gdLst>
                <a:gd name="T0" fmla="*/ 913 w 983"/>
                <a:gd name="T1" fmla="*/ 416 h 972"/>
                <a:gd name="T2" fmla="*/ 965 w 983"/>
                <a:gd name="T3" fmla="*/ 379 h 972"/>
                <a:gd name="T4" fmla="*/ 926 w 983"/>
                <a:gd name="T5" fmla="*/ 298 h 972"/>
                <a:gd name="T6" fmla="*/ 948 w 983"/>
                <a:gd name="T7" fmla="*/ 227 h 972"/>
                <a:gd name="T8" fmla="*/ 830 w 983"/>
                <a:gd name="T9" fmla="*/ 205 h 972"/>
                <a:gd name="T10" fmla="*/ 707 w 983"/>
                <a:gd name="T11" fmla="*/ 179 h 972"/>
                <a:gd name="T12" fmla="*/ 607 w 983"/>
                <a:gd name="T13" fmla="*/ 253 h 972"/>
                <a:gd name="T14" fmla="*/ 572 w 983"/>
                <a:gd name="T15" fmla="*/ 216 h 972"/>
                <a:gd name="T16" fmla="*/ 559 w 983"/>
                <a:gd name="T17" fmla="*/ 168 h 972"/>
                <a:gd name="T18" fmla="*/ 668 w 983"/>
                <a:gd name="T19" fmla="*/ 164 h 972"/>
                <a:gd name="T20" fmla="*/ 706 w 983"/>
                <a:gd name="T21" fmla="*/ 85 h 972"/>
                <a:gd name="T22" fmla="*/ 677 w 983"/>
                <a:gd name="T23" fmla="*/ 63 h 972"/>
                <a:gd name="T24" fmla="*/ 620 w 983"/>
                <a:gd name="T25" fmla="*/ 31 h 972"/>
                <a:gd name="T26" fmla="*/ 601 w 983"/>
                <a:gd name="T27" fmla="*/ 16 h 972"/>
                <a:gd name="T28" fmla="*/ 599 w 983"/>
                <a:gd name="T29" fmla="*/ 17 h 972"/>
                <a:gd name="T30" fmla="*/ 581 w 983"/>
                <a:gd name="T31" fmla="*/ 41 h 972"/>
                <a:gd name="T32" fmla="*/ 550 w 983"/>
                <a:gd name="T33" fmla="*/ 64 h 972"/>
                <a:gd name="T34" fmla="*/ 509 w 983"/>
                <a:gd name="T35" fmla="*/ 56 h 972"/>
                <a:gd name="T36" fmla="*/ 463 w 983"/>
                <a:gd name="T37" fmla="*/ 60 h 972"/>
                <a:gd name="T38" fmla="*/ 422 w 983"/>
                <a:gd name="T39" fmla="*/ 55 h 972"/>
                <a:gd name="T40" fmla="*/ 387 w 983"/>
                <a:gd name="T41" fmla="*/ 31 h 972"/>
                <a:gd name="T42" fmla="*/ 353 w 983"/>
                <a:gd name="T43" fmla="*/ 10 h 972"/>
                <a:gd name="T44" fmla="*/ 309 w 983"/>
                <a:gd name="T45" fmla="*/ 27 h 972"/>
                <a:gd name="T46" fmla="*/ 291 w 983"/>
                <a:gd name="T47" fmla="*/ 40 h 972"/>
                <a:gd name="T48" fmla="*/ 305 w 983"/>
                <a:gd name="T49" fmla="*/ 73 h 972"/>
                <a:gd name="T50" fmla="*/ 263 w 983"/>
                <a:gd name="T51" fmla="*/ 164 h 972"/>
                <a:gd name="T52" fmla="*/ 281 w 983"/>
                <a:gd name="T53" fmla="*/ 217 h 972"/>
                <a:gd name="T54" fmla="*/ 238 w 983"/>
                <a:gd name="T55" fmla="*/ 245 h 972"/>
                <a:gd name="T56" fmla="*/ 171 w 983"/>
                <a:gd name="T57" fmla="*/ 262 h 972"/>
                <a:gd name="T58" fmla="*/ 189 w 983"/>
                <a:gd name="T59" fmla="*/ 310 h 972"/>
                <a:gd name="T60" fmla="*/ 176 w 983"/>
                <a:gd name="T61" fmla="*/ 349 h 972"/>
                <a:gd name="T62" fmla="*/ 158 w 983"/>
                <a:gd name="T63" fmla="*/ 406 h 972"/>
                <a:gd name="T64" fmla="*/ 115 w 983"/>
                <a:gd name="T65" fmla="*/ 451 h 972"/>
                <a:gd name="T66" fmla="*/ 79 w 983"/>
                <a:gd name="T67" fmla="*/ 492 h 972"/>
                <a:gd name="T68" fmla="*/ 48 w 983"/>
                <a:gd name="T69" fmla="*/ 511 h 972"/>
                <a:gd name="T70" fmla="*/ 6 w 983"/>
                <a:gd name="T71" fmla="*/ 580 h 972"/>
                <a:gd name="T72" fmla="*/ 91 w 983"/>
                <a:gd name="T73" fmla="*/ 635 h 972"/>
                <a:gd name="T74" fmla="*/ 157 w 983"/>
                <a:gd name="T75" fmla="*/ 733 h 972"/>
                <a:gd name="T76" fmla="*/ 156 w 983"/>
                <a:gd name="T77" fmla="*/ 780 h 972"/>
                <a:gd name="T78" fmla="*/ 192 w 983"/>
                <a:gd name="T79" fmla="*/ 777 h 972"/>
                <a:gd name="T80" fmla="*/ 246 w 983"/>
                <a:gd name="T81" fmla="*/ 782 h 972"/>
                <a:gd name="T82" fmla="*/ 251 w 983"/>
                <a:gd name="T83" fmla="*/ 848 h 972"/>
                <a:gd name="T84" fmla="*/ 294 w 983"/>
                <a:gd name="T85" fmla="*/ 905 h 972"/>
                <a:gd name="T86" fmla="*/ 330 w 983"/>
                <a:gd name="T87" fmla="*/ 954 h 972"/>
                <a:gd name="T88" fmla="*/ 397 w 983"/>
                <a:gd name="T89" fmla="*/ 959 h 972"/>
                <a:gd name="T90" fmla="*/ 438 w 983"/>
                <a:gd name="T91" fmla="*/ 923 h 972"/>
                <a:gd name="T92" fmla="*/ 486 w 983"/>
                <a:gd name="T93" fmla="*/ 914 h 972"/>
                <a:gd name="T94" fmla="*/ 533 w 983"/>
                <a:gd name="T95" fmla="*/ 962 h 972"/>
                <a:gd name="T96" fmla="*/ 590 w 983"/>
                <a:gd name="T97" fmla="*/ 950 h 972"/>
                <a:gd name="T98" fmla="*/ 666 w 983"/>
                <a:gd name="T99" fmla="*/ 937 h 972"/>
                <a:gd name="T100" fmla="*/ 713 w 983"/>
                <a:gd name="T101" fmla="*/ 971 h 972"/>
                <a:gd name="T102" fmla="*/ 720 w 983"/>
                <a:gd name="T103" fmla="*/ 972 h 972"/>
                <a:gd name="T104" fmla="*/ 747 w 983"/>
                <a:gd name="T105" fmla="*/ 906 h 972"/>
                <a:gd name="T106" fmla="*/ 768 w 983"/>
                <a:gd name="T107" fmla="*/ 791 h 972"/>
                <a:gd name="T108" fmla="*/ 812 w 983"/>
                <a:gd name="T109" fmla="*/ 706 h 972"/>
                <a:gd name="T110" fmla="*/ 851 w 983"/>
                <a:gd name="T111" fmla="*/ 665 h 972"/>
                <a:gd name="T112" fmla="*/ 900 w 983"/>
                <a:gd name="T113" fmla="*/ 680 h 972"/>
                <a:gd name="T114" fmla="*/ 948 w 983"/>
                <a:gd name="T115" fmla="*/ 635 h 972"/>
                <a:gd name="T116" fmla="*/ 913 w 983"/>
                <a:gd name="T117" fmla="*/ 535 h 972"/>
                <a:gd name="T118" fmla="*/ 900 w 983"/>
                <a:gd name="T119" fmla="*/ 472 h 972"/>
                <a:gd name="T120" fmla="*/ 913 w 983"/>
                <a:gd name="T121" fmla="*/ 416 h 9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83" h="972">
                  <a:moveTo>
                    <a:pt x="913" y="416"/>
                  </a:moveTo>
                  <a:cubicBezTo>
                    <a:pt x="948" y="416"/>
                    <a:pt x="983" y="413"/>
                    <a:pt x="965" y="379"/>
                  </a:cubicBezTo>
                  <a:cubicBezTo>
                    <a:pt x="948" y="346"/>
                    <a:pt x="908" y="331"/>
                    <a:pt x="926" y="298"/>
                  </a:cubicBezTo>
                  <a:cubicBezTo>
                    <a:pt x="943" y="265"/>
                    <a:pt x="983" y="246"/>
                    <a:pt x="948" y="227"/>
                  </a:cubicBezTo>
                  <a:cubicBezTo>
                    <a:pt x="913" y="209"/>
                    <a:pt x="856" y="242"/>
                    <a:pt x="830" y="205"/>
                  </a:cubicBezTo>
                  <a:cubicBezTo>
                    <a:pt x="803" y="168"/>
                    <a:pt x="725" y="153"/>
                    <a:pt x="707" y="179"/>
                  </a:cubicBezTo>
                  <a:cubicBezTo>
                    <a:pt x="690" y="205"/>
                    <a:pt x="624" y="279"/>
                    <a:pt x="607" y="253"/>
                  </a:cubicBezTo>
                  <a:cubicBezTo>
                    <a:pt x="589" y="227"/>
                    <a:pt x="598" y="216"/>
                    <a:pt x="572" y="216"/>
                  </a:cubicBezTo>
                  <a:cubicBezTo>
                    <a:pt x="546" y="216"/>
                    <a:pt x="519" y="157"/>
                    <a:pt x="559" y="168"/>
                  </a:cubicBezTo>
                  <a:cubicBezTo>
                    <a:pt x="598" y="179"/>
                    <a:pt x="655" y="194"/>
                    <a:pt x="668" y="164"/>
                  </a:cubicBezTo>
                  <a:cubicBezTo>
                    <a:pt x="679" y="140"/>
                    <a:pt x="687" y="106"/>
                    <a:pt x="706" y="85"/>
                  </a:cubicBezTo>
                  <a:cubicBezTo>
                    <a:pt x="697" y="76"/>
                    <a:pt x="690" y="66"/>
                    <a:pt x="677" y="63"/>
                  </a:cubicBezTo>
                  <a:cubicBezTo>
                    <a:pt x="656" y="59"/>
                    <a:pt x="658" y="46"/>
                    <a:pt x="620" y="31"/>
                  </a:cubicBezTo>
                  <a:cubicBezTo>
                    <a:pt x="610" y="27"/>
                    <a:pt x="604" y="22"/>
                    <a:pt x="601" y="16"/>
                  </a:cubicBezTo>
                  <a:cubicBezTo>
                    <a:pt x="600" y="16"/>
                    <a:pt x="600" y="17"/>
                    <a:pt x="599" y="17"/>
                  </a:cubicBezTo>
                  <a:cubicBezTo>
                    <a:pt x="586" y="24"/>
                    <a:pt x="581" y="24"/>
                    <a:pt x="581" y="41"/>
                  </a:cubicBezTo>
                  <a:cubicBezTo>
                    <a:pt x="581" y="57"/>
                    <a:pt x="569" y="59"/>
                    <a:pt x="550" y="64"/>
                  </a:cubicBezTo>
                  <a:cubicBezTo>
                    <a:pt x="530" y="70"/>
                    <a:pt x="525" y="77"/>
                    <a:pt x="509" y="56"/>
                  </a:cubicBezTo>
                  <a:cubicBezTo>
                    <a:pt x="492" y="35"/>
                    <a:pt x="484" y="52"/>
                    <a:pt x="463" y="60"/>
                  </a:cubicBezTo>
                  <a:cubicBezTo>
                    <a:pt x="441" y="69"/>
                    <a:pt x="441" y="62"/>
                    <a:pt x="422" y="55"/>
                  </a:cubicBezTo>
                  <a:cubicBezTo>
                    <a:pt x="402" y="48"/>
                    <a:pt x="392" y="44"/>
                    <a:pt x="387" y="31"/>
                  </a:cubicBezTo>
                  <a:cubicBezTo>
                    <a:pt x="382" y="19"/>
                    <a:pt x="364" y="0"/>
                    <a:pt x="353" y="10"/>
                  </a:cubicBezTo>
                  <a:cubicBezTo>
                    <a:pt x="341" y="20"/>
                    <a:pt x="312" y="14"/>
                    <a:pt x="309" y="27"/>
                  </a:cubicBezTo>
                  <a:cubicBezTo>
                    <a:pt x="307" y="33"/>
                    <a:pt x="299" y="37"/>
                    <a:pt x="291" y="40"/>
                  </a:cubicBezTo>
                  <a:cubicBezTo>
                    <a:pt x="294" y="48"/>
                    <a:pt x="297" y="58"/>
                    <a:pt x="305" y="73"/>
                  </a:cubicBezTo>
                  <a:cubicBezTo>
                    <a:pt x="323" y="103"/>
                    <a:pt x="287" y="144"/>
                    <a:pt x="263" y="164"/>
                  </a:cubicBezTo>
                  <a:cubicBezTo>
                    <a:pt x="238" y="185"/>
                    <a:pt x="266" y="198"/>
                    <a:pt x="281" y="217"/>
                  </a:cubicBezTo>
                  <a:cubicBezTo>
                    <a:pt x="296" y="237"/>
                    <a:pt x="258" y="238"/>
                    <a:pt x="238" y="245"/>
                  </a:cubicBezTo>
                  <a:cubicBezTo>
                    <a:pt x="219" y="252"/>
                    <a:pt x="207" y="253"/>
                    <a:pt x="171" y="262"/>
                  </a:cubicBezTo>
                  <a:cubicBezTo>
                    <a:pt x="135" y="270"/>
                    <a:pt x="176" y="295"/>
                    <a:pt x="189" y="310"/>
                  </a:cubicBezTo>
                  <a:cubicBezTo>
                    <a:pt x="202" y="326"/>
                    <a:pt x="189" y="335"/>
                    <a:pt x="176" y="349"/>
                  </a:cubicBezTo>
                  <a:cubicBezTo>
                    <a:pt x="163" y="363"/>
                    <a:pt x="161" y="384"/>
                    <a:pt x="158" y="406"/>
                  </a:cubicBezTo>
                  <a:cubicBezTo>
                    <a:pt x="155" y="429"/>
                    <a:pt x="130" y="440"/>
                    <a:pt x="115" y="451"/>
                  </a:cubicBezTo>
                  <a:cubicBezTo>
                    <a:pt x="101" y="462"/>
                    <a:pt x="89" y="470"/>
                    <a:pt x="79" y="492"/>
                  </a:cubicBezTo>
                  <a:cubicBezTo>
                    <a:pt x="75" y="502"/>
                    <a:pt x="62" y="508"/>
                    <a:pt x="48" y="511"/>
                  </a:cubicBezTo>
                  <a:cubicBezTo>
                    <a:pt x="59" y="529"/>
                    <a:pt x="12" y="558"/>
                    <a:pt x="6" y="580"/>
                  </a:cubicBezTo>
                  <a:cubicBezTo>
                    <a:pt x="0" y="604"/>
                    <a:pt x="43" y="613"/>
                    <a:pt x="91" y="635"/>
                  </a:cubicBezTo>
                  <a:cubicBezTo>
                    <a:pt x="139" y="657"/>
                    <a:pt x="131" y="700"/>
                    <a:pt x="157" y="733"/>
                  </a:cubicBezTo>
                  <a:cubicBezTo>
                    <a:pt x="177" y="759"/>
                    <a:pt x="164" y="769"/>
                    <a:pt x="156" y="780"/>
                  </a:cubicBezTo>
                  <a:cubicBezTo>
                    <a:pt x="169" y="782"/>
                    <a:pt x="184" y="782"/>
                    <a:pt x="192" y="777"/>
                  </a:cubicBezTo>
                  <a:cubicBezTo>
                    <a:pt x="210" y="768"/>
                    <a:pt x="248" y="747"/>
                    <a:pt x="246" y="782"/>
                  </a:cubicBezTo>
                  <a:cubicBezTo>
                    <a:pt x="245" y="816"/>
                    <a:pt x="232" y="833"/>
                    <a:pt x="251" y="848"/>
                  </a:cubicBezTo>
                  <a:cubicBezTo>
                    <a:pt x="271" y="864"/>
                    <a:pt x="289" y="884"/>
                    <a:pt x="294" y="905"/>
                  </a:cubicBezTo>
                  <a:cubicBezTo>
                    <a:pt x="299" y="926"/>
                    <a:pt x="309" y="944"/>
                    <a:pt x="330" y="954"/>
                  </a:cubicBezTo>
                  <a:cubicBezTo>
                    <a:pt x="351" y="964"/>
                    <a:pt x="381" y="972"/>
                    <a:pt x="397" y="959"/>
                  </a:cubicBezTo>
                  <a:cubicBezTo>
                    <a:pt x="414" y="947"/>
                    <a:pt x="428" y="943"/>
                    <a:pt x="438" y="923"/>
                  </a:cubicBezTo>
                  <a:cubicBezTo>
                    <a:pt x="448" y="904"/>
                    <a:pt x="464" y="879"/>
                    <a:pt x="486" y="914"/>
                  </a:cubicBezTo>
                  <a:cubicBezTo>
                    <a:pt x="507" y="948"/>
                    <a:pt x="502" y="958"/>
                    <a:pt x="533" y="962"/>
                  </a:cubicBezTo>
                  <a:cubicBezTo>
                    <a:pt x="564" y="966"/>
                    <a:pt x="564" y="961"/>
                    <a:pt x="590" y="950"/>
                  </a:cubicBezTo>
                  <a:cubicBezTo>
                    <a:pt x="617" y="939"/>
                    <a:pt x="656" y="915"/>
                    <a:pt x="666" y="937"/>
                  </a:cubicBezTo>
                  <a:cubicBezTo>
                    <a:pt x="676" y="959"/>
                    <a:pt x="694" y="968"/>
                    <a:pt x="713" y="971"/>
                  </a:cubicBezTo>
                  <a:cubicBezTo>
                    <a:pt x="716" y="971"/>
                    <a:pt x="718" y="971"/>
                    <a:pt x="720" y="972"/>
                  </a:cubicBezTo>
                  <a:cubicBezTo>
                    <a:pt x="732" y="956"/>
                    <a:pt x="744" y="937"/>
                    <a:pt x="747" y="906"/>
                  </a:cubicBezTo>
                  <a:cubicBezTo>
                    <a:pt x="751" y="850"/>
                    <a:pt x="747" y="813"/>
                    <a:pt x="768" y="791"/>
                  </a:cubicBezTo>
                  <a:cubicBezTo>
                    <a:pt x="790" y="769"/>
                    <a:pt x="808" y="728"/>
                    <a:pt x="812" y="706"/>
                  </a:cubicBezTo>
                  <a:cubicBezTo>
                    <a:pt x="817" y="683"/>
                    <a:pt x="825" y="639"/>
                    <a:pt x="851" y="665"/>
                  </a:cubicBezTo>
                  <a:cubicBezTo>
                    <a:pt x="878" y="691"/>
                    <a:pt x="878" y="702"/>
                    <a:pt x="900" y="680"/>
                  </a:cubicBezTo>
                  <a:cubicBezTo>
                    <a:pt x="921" y="657"/>
                    <a:pt x="974" y="683"/>
                    <a:pt x="948" y="635"/>
                  </a:cubicBezTo>
                  <a:cubicBezTo>
                    <a:pt x="921" y="587"/>
                    <a:pt x="882" y="565"/>
                    <a:pt x="913" y="535"/>
                  </a:cubicBezTo>
                  <a:cubicBezTo>
                    <a:pt x="943" y="505"/>
                    <a:pt x="921" y="498"/>
                    <a:pt x="900" y="472"/>
                  </a:cubicBezTo>
                  <a:cubicBezTo>
                    <a:pt x="878" y="446"/>
                    <a:pt x="878" y="416"/>
                    <a:pt x="913" y="416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" name="Freeform 30"/>
            <p:cNvSpPr>
              <a:spLocks/>
            </p:cNvSpPr>
            <p:nvPr/>
          </p:nvSpPr>
          <p:spPr bwMode="auto">
            <a:xfrm>
              <a:off x="4939" y="2557"/>
              <a:ext cx="128" cy="134"/>
            </a:xfrm>
            <a:custGeom>
              <a:avLst/>
              <a:gdLst>
                <a:gd name="T0" fmla="*/ 19 w 277"/>
                <a:gd name="T1" fmla="*/ 234 h 288"/>
                <a:gd name="T2" fmla="*/ 76 w 277"/>
                <a:gd name="T3" fmla="*/ 266 h 288"/>
                <a:gd name="T4" fmla="*/ 105 w 277"/>
                <a:gd name="T5" fmla="*/ 288 h 288"/>
                <a:gd name="T6" fmla="*/ 119 w 277"/>
                <a:gd name="T7" fmla="*/ 275 h 288"/>
                <a:gd name="T8" fmla="*/ 264 w 277"/>
                <a:gd name="T9" fmla="*/ 197 h 288"/>
                <a:gd name="T10" fmla="*/ 207 w 277"/>
                <a:gd name="T11" fmla="*/ 112 h 288"/>
                <a:gd name="T12" fmla="*/ 102 w 277"/>
                <a:gd name="T13" fmla="*/ 64 h 288"/>
                <a:gd name="T14" fmla="*/ 63 w 277"/>
                <a:gd name="T15" fmla="*/ 9 h 288"/>
                <a:gd name="T16" fmla="*/ 29 w 277"/>
                <a:gd name="T17" fmla="*/ 12 h 288"/>
                <a:gd name="T18" fmla="*/ 35 w 277"/>
                <a:gd name="T19" fmla="*/ 49 h 288"/>
                <a:gd name="T20" fmla="*/ 73 w 277"/>
                <a:gd name="T21" fmla="*/ 87 h 288"/>
                <a:gd name="T22" fmla="*/ 40 w 277"/>
                <a:gd name="T23" fmla="*/ 110 h 288"/>
                <a:gd name="T24" fmla="*/ 47 w 277"/>
                <a:gd name="T25" fmla="*/ 155 h 288"/>
                <a:gd name="T26" fmla="*/ 21 w 277"/>
                <a:gd name="T27" fmla="*/ 194 h 288"/>
                <a:gd name="T28" fmla="*/ 0 w 277"/>
                <a:gd name="T29" fmla="*/ 219 h 288"/>
                <a:gd name="T30" fmla="*/ 19 w 277"/>
                <a:gd name="T31" fmla="*/ 23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77" h="288">
                  <a:moveTo>
                    <a:pt x="19" y="234"/>
                  </a:moveTo>
                  <a:cubicBezTo>
                    <a:pt x="57" y="249"/>
                    <a:pt x="55" y="262"/>
                    <a:pt x="76" y="266"/>
                  </a:cubicBezTo>
                  <a:cubicBezTo>
                    <a:pt x="89" y="269"/>
                    <a:pt x="96" y="279"/>
                    <a:pt x="105" y="288"/>
                  </a:cubicBezTo>
                  <a:cubicBezTo>
                    <a:pt x="109" y="283"/>
                    <a:pt x="114" y="278"/>
                    <a:pt x="119" y="275"/>
                  </a:cubicBezTo>
                  <a:cubicBezTo>
                    <a:pt x="150" y="256"/>
                    <a:pt x="277" y="227"/>
                    <a:pt x="264" y="197"/>
                  </a:cubicBezTo>
                  <a:cubicBezTo>
                    <a:pt x="250" y="167"/>
                    <a:pt x="233" y="130"/>
                    <a:pt x="207" y="112"/>
                  </a:cubicBezTo>
                  <a:cubicBezTo>
                    <a:pt x="181" y="93"/>
                    <a:pt x="128" y="75"/>
                    <a:pt x="102" y="64"/>
                  </a:cubicBezTo>
                  <a:cubicBezTo>
                    <a:pt x="84" y="56"/>
                    <a:pt x="58" y="22"/>
                    <a:pt x="63" y="9"/>
                  </a:cubicBezTo>
                  <a:cubicBezTo>
                    <a:pt x="41" y="0"/>
                    <a:pt x="41" y="8"/>
                    <a:pt x="29" y="12"/>
                  </a:cubicBezTo>
                  <a:cubicBezTo>
                    <a:pt x="12" y="16"/>
                    <a:pt x="17" y="35"/>
                    <a:pt x="35" y="49"/>
                  </a:cubicBezTo>
                  <a:cubicBezTo>
                    <a:pt x="53" y="63"/>
                    <a:pt x="63" y="69"/>
                    <a:pt x="73" y="87"/>
                  </a:cubicBezTo>
                  <a:cubicBezTo>
                    <a:pt x="83" y="105"/>
                    <a:pt x="63" y="103"/>
                    <a:pt x="40" y="110"/>
                  </a:cubicBezTo>
                  <a:cubicBezTo>
                    <a:pt x="17" y="117"/>
                    <a:pt x="50" y="133"/>
                    <a:pt x="47" y="155"/>
                  </a:cubicBezTo>
                  <a:cubicBezTo>
                    <a:pt x="44" y="177"/>
                    <a:pt x="26" y="171"/>
                    <a:pt x="21" y="194"/>
                  </a:cubicBezTo>
                  <a:cubicBezTo>
                    <a:pt x="16" y="214"/>
                    <a:pt x="11" y="214"/>
                    <a:pt x="0" y="219"/>
                  </a:cubicBezTo>
                  <a:cubicBezTo>
                    <a:pt x="3" y="225"/>
                    <a:pt x="9" y="230"/>
                    <a:pt x="19" y="234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" name="Freeform 31"/>
            <p:cNvSpPr>
              <a:spLocks/>
            </p:cNvSpPr>
            <p:nvPr/>
          </p:nvSpPr>
          <p:spPr bwMode="auto">
            <a:xfrm>
              <a:off x="4205" y="1864"/>
              <a:ext cx="781" cy="475"/>
            </a:xfrm>
            <a:custGeom>
              <a:avLst/>
              <a:gdLst>
                <a:gd name="T0" fmla="*/ 1555 w 1686"/>
                <a:gd name="T1" fmla="*/ 63 h 1025"/>
                <a:gd name="T2" fmla="*/ 1393 w 1686"/>
                <a:gd name="T3" fmla="*/ 100 h 1025"/>
                <a:gd name="T4" fmla="*/ 1262 w 1686"/>
                <a:gd name="T5" fmla="*/ 48 h 1025"/>
                <a:gd name="T6" fmla="*/ 1109 w 1686"/>
                <a:gd name="T7" fmla="*/ 119 h 1025"/>
                <a:gd name="T8" fmla="*/ 987 w 1686"/>
                <a:gd name="T9" fmla="*/ 260 h 1025"/>
                <a:gd name="T10" fmla="*/ 847 w 1686"/>
                <a:gd name="T11" fmla="*/ 185 h 1025"/>
                <a:gd name="T12" fmla="*/ 782 w 1686"/>
                <a:gd name="T13" fmla="*/ 41 h 1025"/>
                <a:gd name="T14" fmla="*/ 548 w 1686"/>
                <a:gd name="T15" fmla="*/ 35 h 1025"/>
                <a:gd name="T16" fmla="*/ 469 w 1686"/>
                <a:gd name="T17" fmla="*/ 144 h 1025"/>
                <a:gd name="T18" fmla="*/ 296 w 1686"/>
                <a:gd name="T19" fmla="*/ 238 h 1025"/>
                <a:gd name="T20" fmla="*/ 197 w 1686"/>
                <a:gd name="T21" fmla="*/ 313 h 1025"/>
                <a:gd name="T22" fmla="*/ 102 w 1686"/>
                <a:gd name="T23" fmla="*/ 469 h 1025"/>
                <a:gd name="T24" fmla="*/ 99 w 1686"/>
                <a:gd name="T25" fmla="*/ 600 h 1025"/>
                <a:gd name="T26" fmla="*/ 87 w 1686"/>
                <a:gd name="T27" fmla="*/ 695 h 1025"/>
                <a:gd name="T28" fmla="*/ 203 w 1686"/>
                <a:gd name="T29" fmla="*/ 677 h 1025"/>
                <a:gd name="T30" fmla="*/ 63 w 1686"/>
                <a:gd name="T31" fmla="*/ 832 h 1025"/>
                <a:gd name="T32" fmla="*/ 26 w 1686"/>
                <a:gd name="T33" fmla="*/ 923 h 1025"/>
                <a:gd name="T34" fmla="*/ 155 w 1686"/>
                <a:gd name="T35" fmla="*/ 990 h 1025"/>
                <a:gd name="T36" fmla="*/ 303 w 1686"/>
                <a:gd name="T37" fmla="*/ 990 h 1025"/>
                <a:gd name="T38" fmla="*/ 345 w 1686"/>
                <a:gd name="T39" fmla="*/ 996 h 1025"/>
                <a:gd name="T40" fmla="*/ 378 w 1686"/>
                <a:gd name="T41" fmla="*/ 915 h 1025"/>
                <a:gd name="T42" fmla="*/ 489 w 1686"/>
                <a:gd name="T43" fmla="*/ 898 h 1025"/>
                <a:gd name="T44" fmla="*/ 623 w 1686"/>
                <a:gd name="T45" fmla="*/ 975 h 1025"/>
                <a:gd name="T46" fmla="*/ 704 w 1686"/>
                <a:gd name="T47" fmla="*/ 940 h 1025"/>
                <a:gd name="T48" fmla="*/ 782 w 1686"/>
                <a:gd name="T49" fmla="*/ 955 h 1025"/>
                <a:gd name="T50" fmla="*/ 851 w 1686"/>
                <a:gd name="T51" fmla="*/ 897 h 1025"/>
                <a:gd name="T52" fmla="*/ 944 w 1686"/>
                <a:gd name="T53" fmla="*/ 793 h 1025"/>
                <a:gd name="T54" fmla="*/ 1057 w 1686"/>
                <a:gd name="T55" fmla="*/ 734 h 1025"/>
                <a:gd name="T56" fmla="*/ 1188 w 1686"/>
                <a:gd name="T57" fmla="*/ 556 h 1025"/>
                <a:gd name="T58" fmla="*/ 1297 w 1686"/>
                <a:gd name="T59" fmla="*/ 452 h 1025"/>
                <a:gd name="T60" fmla="*/ 1485 w 1686"/>
                <a:gd name="T61" fmla="*/ 248 h 1025"/>
                <a:gd name="T62" fmla="*/ 1651 w 1686"/>
                <a:gd name="T63" fmla="*/ 178 h 10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6" h="1025">
                  <a:moveTo>
                    <a:pt x="1638" y="71"/>
                  </a:moveTo>
                  <a:cubicBezTo>
                    <a:pt x="1590" y="63"/>
                    <a:pt x="1577" y="85"/>
                    <a:pt x="1555" y="63"/>
                  </a:cubicBezTo>
                  <a:cubicBezTo>
                    <a:pt x="1533" y="41"/>
                    <a:pt x="1516" y="59"/>
                    <a:pt x="1485" y="82"/>
                  </a:cubicBezTo>
                  <a:cubicBezTo>
                    <a:pt x="1454" y="104"/>
                    <a:pt x="1433" y="122"/>
                    <a:pt x="1393" y="100"/>
                  </a:cubicBezTo>
                  <a:cubicBezTo>
                    <a:pt x="1354" y="78"/>
                    <a:pt x="1363" y="74"/>
                    <a:pt x="1332" y="78"/>
                  </a:cubicBezTo>
                  <a:cubicBezTo>
                    <a:pt x="1302" y="82"/>
                    <a:pt x="1275" y="48"/>
                    <a:pt x="1262" y="48"/>
                  </a:cubicBezTo>
                  <a:cubicBezTo>
                    <a:pt x="1249" y="48"/>
                    <a:pt x="1214" y="0"/>
                    <a:pt x="1162" y="59"/>
                  </a:cubicBezTo>
                  <a:cubicBezTo>
                    <a:pt x="1109" y="119"/>
                    <a:pt x="1140" y="74"/>
                    <a:pt x="1109" y="119"/>
                  </a:cubicBezTo>
                  <a:cubicBezTo>
                    <a:pt x="1079" y="163"/>
                    <a:pt x="1057" y="189"/>
                    <a:pt x="1048" y="219"/>
                  </a:cubicBezTo>
                  <a:cubicBezTo>
                    <a:pt x="1039" y="248"/>
                    <a:pt x="1039" y="256"/>
                    <a:pt x="987" y="260"/>
                  </a:cubicBezTo>
                  <a:cubicBezTo>
                    <a:pt x="935" y="263"/>
                    <a:pt x="895" y="271"/>
                    <a:pt x="869" y="248"/>
                  </a:cubicBezTo>
                  <a:cubicBezTo>
                    <a:pt x="843" y="226"/>
                    <a:pt x="834" y="223"/>
                    <a:pt x="847" y="185"/>
                  </a:cubicBezTo>
                  <a:cubicBezTo>
                    <a:pt x="860" y="148"/>
                    <a:pt x="891" y="141"/>
                    <a:pt x="856" y="119"/>
                  </a:cubicBezTo>
                  <a:cubicBezTo>
                    <a:pt x="821" y="96"/>
                    <a:pt x="821" y="33"/>
                    <a:pt x="782" y="41"/>
                  </a:cubicBezTo>
                  <a:cubicBezTo>
                    <a:pt x="742" y="48"/>
                    <a:pt x="594" y="74"/>
                    <a:pt x="555" y="41"/>
                  </a:cubicBezTo>
                  <a:cubicBezTo>
                    <a:pt x="552" y="39"/>
                    <a:pt x="550" y="37"/>
                    <a:pt x="548" y="35"/>
                  </a:cubicBezTo>
                  <a:cubicBezTo>
                    <a:pt x="539" y="50"/>
                    <a:pt x="531" y="60"/>
                    <a:pt x="525" y="77"/>
                  </a:cubicBezTo>
                  <a:cubicBezTo>
                    <a:pt x="515" y="105"/>
                    <a:pt x="489" y="110"/>
                    <a:pt x="469" y="144"/>
                  </a:cubicBezTo>
                  <a:cubicBezTo>
                    <a:pt x="450" y="177"/>
                    <a:pt x="410" y="163"/>
                    <a:pt x="355" y="166"/>
                  </a:cubicBezTo>
                  <a:cubicBezTo>
                    <a:pt x="299" y="169"/>
                    <a:pt x="309" y="230"/>
                    <a:pt x="296" y="238"/>
                  </a:cubicBezTo>
                  <a:cubicBezTo>
                    <a:pt x="283" y="247"/>
                    <a:pt x="266" y="238"/>
                    <a:pt x="247" y="269"/>
                  </a:cubicBezTo>
                  <a:cubicBezTo>
                    <a:pt x="227" y="299"/>
                    <a:pt x="240" y="311"/>
                    <a:pt x="197" y="313"/>
                  </a:cubicBezTo>
                  <a:cubicBezTo>
                    <a:pt x="155" y="316"/>
                    <a:pt x="165" y="363"/>
                    <a:pt x="145" y="402"/>
                  </a:cubicBezTo>
                  <a:cubicBezTo>
                    <a:pt x="125" y="441"/>
                    <a:pt x="129" y="461"/>
                    <a:pt x="102" y="469"/>
                  </a:cubicBezTo>
                  <a:cubicBezTo>
                    <a:pt x="76" y="477"/>
                    <a:pt x="76" y="491"/>
                    <a:pt x="53" y="522"/>
                  </a:cubicBezTo>
                  <a:cubicBezTo>
                    <a:pt x="30" y="552"/>
                    <a:pt x="63" y="566"/>
                    <a:pt x="99" y="600"/>
                  </a:cubicBezTo>
                  <a:cubicBezTo>
                    <a:pt x="118" y="617"/>
                    <a:pt x="110" y="631"/>
                    <a:pt x="99" y="642"/>
                  </a:cubicBezTo>
                  <a:cubicBezTo>
                    <a:pt x="110" y="644"/>
                    <a:pt x="97" y="653"/>
                    <a:pt x="87" y="695"/>
                  </a:cubicBezTo>
                  <a:cubicBezTo>
                    <a:pt x="74" y="749"/>
                    <a:pt x="140" y="684"/>
                    <a:pt x="175" y="673"/>
                  </a:cubicBezTo>
                  <a:cubicBezTo>
                    <a:pt x="273" y="593"/>
                    <a:pt x="227" y="662"/>
                    <a:pt x="203" y="677"/>
                  </a:cubicBezTo>
                  <a:cubicBezTo>
                    <a:pt x="179" y="691"/>
                    <a:pt x="148" y="740"/>
                    <a:pt x="127" y="760"/>
                  </a:cubicBezTo>
                  <a:cubicBezTo>
                    <a:pt x="105" y="780"/>
                    <a:pt x="96" y="814"/>
                    <a:pt x="63" y="832"/>
                  </a:cubicBezTo>
                  <a:cubicBezTo>
                    <a:pt x="30" y="851"/>
                    <a:pt x="35" y="853"/>
                    <a:pt x="19" y="877"/>
                  </a:cubicBezTo>
                  <a:cubicBezTo>
                    <a:pt x="4" y="901"/>
                    <a:pt x="0" y="908"/>
                    <a:pt x="26" y="923"/>
                  </a:cubicBezTo>
                  <a:cubicBezTo>
                    <a:pt x="52" y="938"/>
                    <a:pt x="72" y="936"/>
                    <a:pt x="109" y="949"/>
                  </a:cubicBezTo>
                  <a:cubicBezTo>
                    <a:pt x="146" y="962"/>
                    <a:pt x="146" y="975"/>
                    <a:pt x="155" y="990"/>
                  </a:cubicBezTo>
                  <a:cubicBezTo>
                    <a:pt x="164" y="1005"/>
                    <a:pt x="177" y="1006"/>
                    <a:pt x="216" y="1016"/>
                  </a:cubicBezTo>
                  <a:cubicBezTo>
                    <a:pt x="255" y="1025"/>
                    <a:pt x="271" y="993"/>
                    <a:pt x="303" y="990"/>
                  </a:cubicBezTo>
                  <a:cubicBezTo>
                    <a:pt x="318" y="988"/>
                    <a:pt x="325" y="995"/>
                    <a:pt x="329" y="1003"/>
                  </a:cubicBezTo>
                  <a:cubicBezTo>
                    <a:pt x="335" y="1001"/>
                    <a:pt x="341" y="998"/>
                    <a:pt x="345" y="996"/>
                  </a:cubicBezTo>
                  <a:cubicBezTo>
                    <a:pt x="353" y="992"/>
                    <a:pt x="362" y="977"/>
                    <a:pt x="377" y="970"/>
                  </a:cubicBezTo>
                  <a:cubicBezTo>
                    <a:pt x="374" y="955"/>
                    <a:pt x="373" y="928"/>
                    <a:pt x="378" y="915"/>
                  </a:cubicBezTo>
                  <a:cubicBezTo>
                    <a:pt x="383" y="901"/>
                    <a:pt x="384" y="910"/>
                    <a:pt x="415" y="896"/>
                  </a:cubicBezTo>
                  <a:cubicBezTo>
                    <a:pt x="446" y="882"/>
                    <a:pt x="464" y="875"/>
                    <a:pt x="489" y="898"/>
                  </a:cubicBezTo>
                  <a:cubicBezTo>
                    <a:pt x="514" y="922"/>
                    <a:pt x="540" y="957"/>
                    <a:pt x="555" y="968"/>
                  </a:cubicBezTo>
                  <a:cubicBezTo>
                    <a:pt x="569" y="979"/>
                    <a:pt x="599" y="947"/>
                    <a:pt x="623" y="975"/>
                  </a:cubicBezTo>
                  <a:cubicBezTo>
                    <a:pt x="648" y="1003"/>
                    <a:pt x="650" y="983"/>
                    <a:pt x="671" y="968"/>
                  </a:cubicBezTo>
                  <a:cubicBezTo>
                    <a:pt x="692" y="953"/>
                    <a:pt x="705" y="957"/>
                    <a:pt x="704" y="940"/>
                  </a:cubicBezTo>
                  <a:cubicBezTo>
                    <a:pt x="702" y="923"/>
                    <a:pt x="704" y="904"/>
                    <a:pt x="754" y="918"/>
                  </a:cubicBezTo>
                  <a:cubicBezTo>
                    <a:pt x="774" y="933"/>
                    <a:pt x="777" y="953"/>
                    <a:pt x="782" y="955"/>
                  </a:cubicBezTo>
                  <a:cubicBezTo>
                    <a:pt x="787" y="958"/>
                    <a:pt x="812" y="967"/>
                    <a:pt x="822" y="947"/>
                  </a:cubicBezTo>
                  <a:cubicBezTo>
                    <a:pt x="831" y="928"/>
                    <a:pt x="820" y="900"/>
                    <a:pt x="851" y="897"/>
                  </a:cubicBezTo>
                  <a:cubicBezTo>
                    <a:pt x="882" y="894"/>
                    <a:pt x="912" y="893"/>
                    <a:pt x="917" y="861"/>
                  </a:cubicBezTo>
                  <a:cubicBezTo>
                    <a:pt x="922" y="829"/>
                    <a:pt x="912" y="811"/>
                    <a:pt x="944" y="793"/>
                  </a:cubicBezTo>
                  <a:cubicBezTo>
                    <a:pt x="973" y="777"/>
                    <a:pt x="969" y="764"/>
                    <a:pt x="1031" y="774"/>
                  </a:cubicBezTo>
                  <a:cubicBezTo>
                    <a:pt x="1037" y="765"/>
                    <a:pt x="1045" y="754"/>
                    <a:pt x="1057" y="734"/>
                  </a:cubicBezTo>
                  <a:cubicBezTo>
                    <a:pt x="1088" y="682"/>
                    <a:pt x="1092" y="649"/>
                    <a:pt x="1136" y="626"/>
                  </a:cubicBezTo>
                  <a:cubicBezTo>
                    <a:pt x="1179" y="604"/>
                    <a:pt x="1188" y="586"/>
                    <a:pt x="1188" y="556"/>
                  </a:cubicBezTo>
                  <a:cubicBezTo>
                    <a:pt x="1188" y="526"/>
                    <a:pt x="1136" y="530"/>
                    <a:pt x="1201" y="504"/>
                  </a:cubicBezTo>
                  <a:cubicBezTo>
                    <a:pt x="1267" y="478"/>
                    <a:pt x="1293" y="508"/>
                    <a:pt x="1297" y="452"/>
                  </a:cubicBezTo>
                  <a:cubicBezTo>
                    <a:pt x="1302" y="397"/>
                    <a:pt x="1284" y="360"/>
                    <a:pt x="1336" y="337"/>
                  </a:cubicBezTo>
                  <a:cubicBezTo>
                    <a:pt x="1389" y="315"/>
                    <a:pt x="1433" y="274"/>
                    <a:pt x="1485" y="248"/>
                  </a:cubicBezTo>
                  <a:cubicBezTo>
                    <a:pt x="1537" y="223"/>
                    <a:pt x="1520" y="171"/>
                    <a:pt x="1572" y="208"/>
                  </a:cubicBezTo>
                  <a:cubicBezTo>
                    <a:pt x="1625" y="245"/>
                    <a:pt x="1660" y="223"/>
                    <a:pt x="1651" y="178"/>
                  </a:cubicBezTo>
                  <a:cubicBezTo>
                    <a:pt x="1642" y="134"/>
                    <a:pt x="1686" y="78"/>
                    <a:pt x="1638" y="71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" name="Freeform 32"/>
            <p:cNvSpPr>
              <a:spLocks/>
            </p:cNvSpPr>
            <p:nvPr/>
          </p:nvSpPr>
          <p:spPr bwMode="auto">
            <a:xfrm>
              <a:off x="4003" y="1366"/>
              <a:ext cx="624" cy="806"/>
            </a:xfrm>
            <a:custGeom>
              <a:avLst/>
              <a:gdLst>
                <a:gd name="T0" fmla="*/ 1147 w 1348"/>
                <a:gd name="T1" fmla="*/ 478 h 1740"/>
                <a:gd name="T2" fmla="*/ 1107 w 1348"/>
                <a:gd name="T3" fmla="*/ 375 h 1740"/>
                <a:gd name="T4" fmla="*/ 1066 w 1348"/>
                <a:gd name="T5" fmla="*/ 326 h 1740"/>
                <a:gd name="T6" fmla="*/ 909 w 1348"/>
                <a:gd name="T7" fmla="*/ 249 h 1740"/>
                <a:gd name="T8" fmla="*/ 861 w 1348"/>
                <a:gd name="T9" fmla="*/ 126 h 1740"/>
                <a:gd name="T10" fmla="*/ 721 w 1348"/>
                <a:gd name="T11" fmla="*/ 34 h 1740"/>
                <a:gd name="T12" fmla="*/ 577 w 1348"/>
                <a:gd name="T13" fmla="*/ 126 h 1740"/>
                <a:gd name="T14" fmla="*/ 568 w 1348"/>
                <a:gd name="T15" fmla="*/ 230 h 1740"/>
                <a:gd name="T16" fmla="*/ 419 w 1348"/>
                <a:gd name="T17" fmla="*/ 267 h 1740"/>
                <a:gd name="T18" fmla="*/ 223 w 1348"/>
                <a:gd name="T19" fmla="*/ 363 h 1740"/>
                <a:gd name="T20" fmla="*/ 109 w 1348"/>
                <a:gd name="T21" fmla="*/ 256 h 1740"/>
                <a:gd name="T22" fmla="*/ 39 w 1348"/>
                <a:gd name="T23" fmla="*/ 382 h 1740"/>
                <a:gd name="T24" fmla="*/ 22 w 1348"/>
                <a:gd name="T25" fmla="*/ 497 h 1740"/>
                <a:gd name="T26" fmla="*/ 79 w 1348"/>
                <a:gd name="T27" fmla="*/ 593 h 1740"/>
                <a:gd name="T28" fmla="*/ 118 w 1348"/>
                <a:gd name="T29" fmla="*/ 666 h 1740"/>
                <a:gd name="T30" fmla="*/ 116 w 1348"/>
                <a:gd name="T31" fmla="*/ 732 h 1740"/>
                <a:gd name="T32" fmla="*/ 155 w 1348"/>
                <a:gd name="T33" fmla="*/ 806 h 1740"/>
                <a:gd name="T34" fmla="*/ 201 w 1348"/>
                <a:gd name="T35" fmla="*/ 888 h 1740"/>
                <a:gd name="T36" fmla="*/ 164 w 1348"/>
                <a:gd name="T37" fmla="*/ 1008 h 1740"/>
                <a:gd name="T38" fmla="*/ 72 w 1348"/>
                <a:gd name="T39" fmla="*/ 1064 h 1740"/>
                <a:gd name="T40" fmla="*/ 33 w 1348"/>
                <a:gd name="T41" fmla="*/ 1171 h 1740"/>
                <a:gd name="T42" fmla="*/ 122 w 1348"/>
                <a:gd name="T43" fmla="*/ 1288 h 1740"/>
                <a:gd name="T44" fmla="*/ 181 w 1348"/>
                <a:gd name="T45" fmla="*/ 1399 h 1740"/>
                <a:gd name="T46" fmla="*/ 131 w 1348"/>
                <a:gd name="T47" fmla="*/ 1540 h 1740"/>
                <a:gd name="T48" fmla="*/ 122 w 1348"/>
                <a:gd name="T49" fmla="*/ 1683 h 1740"/>
                <a:gd name="T50" fmla="*/ 221 w 1348"/>
                <a:gd name="T51" fmla="*/ 1701 h 1740"/>
                <a:gd name="T52" fmla="*/ 360 w 1348"/>
                <a:gd name="T53" fmla="*/ 1724 h 1740"/>
                <a:gd name="T54" fmla="*/ 446 w 1348"/>
                <a:gd name="T55" fmla="*/ 1718 h 1740"/>
                <a:gd name="T56" fmla="*/ 536 w 1348"/>
                <a:gd name="T57" fmla="*/ 1717 h 1740"/>
                <a:gd name="T58" fmla="*/ 490 w 1348"/>
                <a:gd name="T59" fmla="*/ 1597 h 1740"/>
                <a:gd name="T60" fmla="*/ 582 w 1348"/>
                <a:gd name="T61" fmla="*/ 1477 h 1740"/>
                <a:gd name="T62" fmla="*/ 684 w 1348"/>
                <a:gd name="T63" fmla="*/ 1344 h 1740"/>
                <a:gd name="T64" fmla="*/ 792 w 1348"/>
                <a:gd name="T65" fmla="*/ 1241 h 1740"/>
                <a:gd name="T66" fmla="*/ 962 w 1348"/>
                <a:gd name="T67" fmla="*/ 1152 h 1740"/>
                <a:gd name="T68" fmla="*/ 924 w 1348"/>
                <a:gd name="T69" fmla="*/ 1018 h 1740"/>
                <a:gd name="T70" fmla="*/ 841 w 1348"/>
                <a:gd name="T71" fmla="*/ 1049 h 1740"/>
                <a:gd name="T72" fmla="*/ 723 w 1348"/>
                <a:gd name="T73" fmla="*/ 1021 h 1740"/>
                <a:gd name="T74" fmla="*/ 723 w 1348"/>
                <a:gd name="T75" fmla="*/ 907 h 1740"/>
                <a:gd name="T76" fmla="*/ 680 w 1348"/>
                <a:gd name="T77" fmla="*/ 805 h 1740"/>
                <a:gd name="T78" fmla="*/ 602 w 1348"/>
                <a:gd name="T79" fmla="*/ 860 h 1740"/>
                <a:gd name="T80" fmla="*/ 444 w 1348"/>
                <a:gd name="T81" fmla="*/ 843 h 1740"/>
                <a:gd name="T82" fmla="*/ 412 w 1348"/>
                <a:gd name="T83" fmla="*/ 721 h 1740"/>
                <a:gd name="T84" fmla="*/ 484 w 1348"/>
                <a:gd name="T85" fmla="*/ 663 h 1740"/>
                <a:gd name="T86" fmla="*/ 546 w 1348"/>
                <a:gd name="T87" fmla="*/ 540 h 1740"/>
                <a:gd name="T88" fmla="*/ 634 w 1348"/>
                <a:gd name="T89" fmla="*/ 482 h 1740"/>
                <a:gd name="T90" fmla="*/ 798 w 1348"/>
                <a:gd name="T91" fmla="*/ 552 h 1740"/>
                <a:gd name="T92" fmla="*/ 838 w 1348"/>
                <a:gd name="T93" fmla="*/ 649 h 1740"/>
                <a:gd name="T94" fmla="*/ 867 w 1348"/>
                <a:gd name="T95" fmla="*/ 757 h 1740"/>
                <a:gd name="T96" fmla="*/ 962 w 1348"/>
                <a:gd name="T97" fmla="*/ 824 h 1740"/>
                <a:gd name="T98" fmla="*/ 996 w 1348"/>
                <a:gd name="T99" fmla="*/ 895 h 1740"/>
                <a:gd name="T100" fmla="*/ 1123 w 1348"/>
                <a:gd name="T101" fmla="*/ 875 h 1740"/>
                <a:gd name="T102" fmla="*/ 1293 w 1348"/>
                <a:gd name="T103" fmla="*/ 667 h 1740"/>
                <a:gd name="T104" fmla="*/ 1251 w 1348"/>
                <a:gd name="T105" fmla="*/ 514 h 1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48" h="1740">
                  <a:moveTo>
                    <a:pt x="1251" y="514"/>
                  </a:moveTo>
                  <a:cubicBezTo>
                    <a:pt x="1243" y="491"/>
                    <a:pt x="1177" y="482"/>
                    <a:pt x="1147" y="478"/>
                  </a:cubicBezTo>
                  <a:cubicBezTo>
                    <a:pt x="1116" y="475"/>
                    <a:pt x="1101" y="473"/>
                    <a:pt x="1077" y="438"/>
                  </a:cubicBezTo>
                  <a:cubicBezTo>
                    <a:pt x="1053" y="402"/>
                    <a:pt x="1103" y="402"/>
                    <a:pt x="1107" y="375"/>
                  </a:cubicBezTo>
                  <a:cubicBezTo>
                    <a:pt x="1110" y="357"/>
                    <a:pt x="1122" y="337"/>
                    <a:pt x="1136" y="319"/>
                  </a:cubicBezTo>
                  <a:cubicBezTo>
                    <a:pt x="1111" y="323"/>
                    <a:pt x="1083" y="326"/>
                    <a:pt x="1066" y="326"/>
                  </a:cubicBezTo>
                  <a:cubicBezTo>
                    <a:pt x="1027" y="326"/>
                    <a:pt x="996" y="352"/>
                    <a:pt x="961" y="326"/>
                  </a:cubicBezTo>
                  <a:cubicBezTo>
                    <a:pt x="926" y="300"/>
                    <a:pt x="939" y="263"/>
                    <a:pt x="909" y="249"/>
                  </a:cubicBezTo>
                  <a:cubicBezTo>
                    <a:pt x="878" y="234"/>
                    <a:pt x="878" y="223"/>
                    <a:pt x="878" y="189"/>
                  </a:cubicBezTo>
                  <a:cubicBezTo>
                    <a:pt x="878" y="156"/>
                    <a:pt x="887" y="141"/>
                    <a:pt x="861" y="126"/>
                  </a:cubicBezTo>
                  <a:cubicBezTo>
                    <a:pt x="834" y="111"/>
                    <a:pt x="795" y="52"/>
                    <a:pt x="795" y="52"/>
                  </a:cubicBezTo>
                  <a:cubicBezTo>
                    <a:pt x="795" y="52"/>
                    <a:pt x="773" y="0"/>
                    <a:pt x="721" y="34"/>
                  </a:cubicBezTo>
                  <a:cubicBezTo>
                    <a:pt x="668" y="67"/>
                    <a:pt x="734" y="52"/>
                    <a:pt x="668" y="67"/>
                  </a:cubicBezTo>
                  <a:cubicBezTo>
                    <a:pt x="603" y="82"/>
                    <a:pt x="572" y="97"/>
                    <a:pt x="577" y="126"/>
                  </a:cubicBezTo>
                  <a:cubicBezTo>
                    <a:pt x="581" y="156"/>
                    <a:pt x="598" y="171"/>
                    <a:pt x="603" y="193"/>
                  </a:cubicBezTo>
                  <a:cubicBezTo>
                    <a:pt x="607" y="215"/>
                    <a:pt x="594" y="245"/>
                    <a:pt x="568" y="230"/>
                  </a:cubicBezTo>
                  <a:cubicBezTo>
                    <a:pt x="542" y="215"/>
                    <a:pt x="515" y="189"/>
                    <a:pt x="489" y="226"/>
                  </a:cubicBezTo>
                  <a:cubicBezTo>
                    <a:pt x="463" y="263"/>
                    <a:pt x="446" y="289"/>
                    <a:pt x="419" y="267"/>
                  </a:cubicBezTo>
                  <a:cubicBezTo>
                    <a:pt x="393" y="245"/>
                    <a:pt x="371" y="249"/>
                    <a:pt x="341" y="282"/>
                  </a:cubicBezTo>
                  <a:cubicBezTo>
                    <a:pt x="310" y="315"/>
                    <a:pt x="262" y="401"/>
                    <a:pt x="223" y="363"/>
                  </a:cubicBezTo>
                  <a:cubicBezTo>
                    <a:pt x="183" y="326"/>
                    <a:pt x="223" y="267"/>
                    <a:pt x="192" y="245"/>
                  </a:cubicBezTo>
                  <a:cubicBezTo>
                    <a:pt x="162" y="223"/>
                    <a:pt x="140" y="226"/>
                    <a:pt x="109" y="256"/>
                  </a:cubicBezTo>
                  <a:cubicBezTo>
                    <a:pt x="79" y="286"/>
                    <a:pt x="74" y="297"/>
                    <a:pt x="74" y="326"/>
                  </a:cubicBezTo>
                  <a:cubicBezTo>
                    <a:pt x="74" y="356"/>
                    <a:pt x="57" y="378"/>
                    <a:pt x="39" y="382"/>
                  </a:cubicBezTo>
                  <a:cubicBezTo>
                    <a:pt x="22" y="386"/>
                    <a:pt x="26" y="393"/>
                    <a:pt x="22" y="430"/>
                  </a:cubicBezTo>
                  <a:cubicBezTo>
                    <a:pt x="17" y="467"/>
                    <a:pt x="44" y="486"/>
                    <a:pt x="22" y="497"/>
                  </a:cubicBezTo>
                  <a:cubicBezTo>
                    <a:pt x="0" y="508"/>
                    <a:pt x="13" y="519"/>
                    <a:pt x="31" y="549"/>
                  </a:cubicBezTo>
                  <a:cubicBezTo>
                    <a:pt x="48" y="578"/>
                    <a:pt x="83" y="578"/>
                    <a:pt x="79" y="593"/>
                  </a:cubicBezTo>
                  <a:cubicBezTo>
                    <a:pt x="78" y="595"/>
                    <a:pt x="78" y="598"/>
                    <a:pt x="78" y="601"/>
                  </a:cubicBezTo>
                  <a:cubicBezTo>
                    <a:pt x="114" y="615"/>
                    <a:pt x="114" y="644"/>
                    <a:pt x="118" y="666"/>
                  </a:cubicBezTo>
                  <a:cubicBezTo>
                    <a:pt x="122" y="690"/>
                    <a:pt x="149" y="669"/>
                    <a:pt x="164" y="697"/>
                  </a:cubicBezTo>
                  <a:cubicBezTo>
                    <a:pt x="179" y="725"/>
                    <a:pt x="146" y="725"/>
                    <a:pt x="116" y="732"/>
                  </a:cubicBezTo>
                  <a:cubicBezTo>
                    <a:pt x="85" y="740"/>
                    <a:pt x="116" y="732"/>
                    <a:pt x="81" y="766"/>
                  </a:cubicBezTo>
                  <a:cubicBezTo>
                    <a:pt x="46" y="799"/>
                    <a:pt x="124" y="806"/>
                    <a:pt x="155" y="806"/>
                  </a:cubicBezTo>
                  <a:cubicBezTo>
                    <a:pt x="186" y="806"/>
                    <a:pt x="179" y="825"/>
                    <a:pt x="179" y="842"/>
                  </a:cubicBezTo>
                  <a:cubicBezTo>
                    <a:pt x="179" y="858"/>
                    <a:pt x="179" y="862"/>
                    <a:pt x="201" y="888"/>
                  </a:cubicBezTo>
                  <a:cubicBezTo>
                    <a:pt x="223" y="914"/>
                    <a:pt x="203" y="938"/>
                    <a:pt x="199" y="955"/>
                  </a:cubicBezTo>
                  <a:cubicBezTo>
                    <a:pt x="194" y="971"/>
                    <a:pt x="183" y="982"/>
                    <a:pt x="164" y="1008"/>
                  </a:cubicBezTo>
                  <a:cubicBezTo>
                    <a:pt x="144" y="1034"/>
                    <a:pt x="118" y="1021"/>
                    <a:pt x="87" y="1010"/>
                  </a:cubicBezTo>
                  <a:cubicBezTo>
                    <a:pt x="57" y="999"/>
                    <a:pt x="72" y="1047"/>
                    <a:pt x="72" y="1064"/>
                  </a:cubicBezTo>
                  <a:cubicBezTo>
                    <a:pt x="72" y="1081"/>
                    <a:pt x="72" y="1077"/>
                    <a:pt x="72" y="1110"/>
                  </a:cubicBezTo>
                  <a:cubicBezTo>
                    <a:pt x="72" y="1144"/>
                    <a:pt x="44" y="1133"/>
                    <a:pt x="33" y="1171"/>
                  </a:cubicBezTo>
                  <a:cubicBezTo>
                    <a:pt x="22" y="1210"/>
                    <a:pt x="46" y="1234"/>
                    <a:pt x="83" y="1246"/>
                  </a:cubicBezTo>
                  <a:cubicBezTo>
                    <a:pt x="120" y="1257"/>
                    <a:pt x="122" y="1270"/>
                    <a:pt x="122" y="1288"/>
                  </a:cubicBezTo>
                  <a:cubicBezTo>
                    <a:pt x="122" y="1307"/>
                    <a:pt x="138" y="1320"/>
                    <a:pt x="159" y="1338"/>
                  </a:cubicBezTo>
                  <a:cubicBezTo>
                    <a:pt x="181" y="1357"/>
                    <a:pt x="183" y="1375"/>
                    <a:pt x="181" y="1399"/>
                  </a:cubicBezTo>
                  <a:cubicBezTo>
                    <a:pt x="179" y="1424"/>
                    <a:pt x="170" y="1438"/>
                    <a:pt x="146" y="1470"/>
                  </a:cubicBezTo>
                  <a:cubicBezTo>
                    <a:pt x="122" y="1501"/>
                    <a:pt x="127" y="1500"/>
                    <a:pt x="131" y="1540"/>
                  </a:cubicBezTo>
                  <a:cubicBezTo>
                    <a:pt x="135" y="1581"/>
                    <a:pt x="118" y="1581"/>
                    <a:pt x="90" y="1601"/>
                  </a:cubicBezTo>
                  <a:cubicBezTo>
                    <a:pt x="61" y="1622"/>
                    <a:pt x="81" y="1655"/>
                    <a:pt x="122" y="1683"/>
                  </a:cubicBezTo>
                  <a:cubicBezTo>
                    <a:pt x="130" y="1688"/>
                    <a:pt x="134" y="1693"/>
                    <a:pt x="137" y="1697"/>
                  </a:cubicBezTo>
                  <a:cubicBezTo>
                    <a:pt x="170" y="1691"/>
                    <a:pt x="204" y="1699"/>
                    <a:pt x="221" y="1701"/>
                  </a:cubicBezTo>
                  <a:cubicBezTo>
                    <a:pt x="245" y="1705"/>
                    <a:pt x="264" y="1716"/>
                    <a:pt x="297" y="1722"/>
                  </a:cubicBezTo>
                  <a:cubicBezTo>
                    <a:pt x="330" y="1727"/>
                    <a:pt x="334" y="1729"/>
                    <a:pt x="360" y="1724"/>
                  </a:cubicBezTo>
                  <a:cubicBezTo>
                    <a:pt x="387" y="1718"/>
                    <a:pt x="382" y="1722"/>
                    <a:pt x="404" y="1731"/>
                  </a:cubicBezTo>
                  <a:cubicBezTo>
                    <a:pt x="426" y="1740"/>
                    <a:pt x="437" y="1737"/>
                    <a:pt x="446" y="1718"/>
                  </a:cubicBezTo>
                  <a:cubicBezTo>
                    <a:pt x="485" y="1672"/>
                    <a:pt x="485" y="1716"/>
                    <a:pt x="520" y="1716"/>
                  </a:cubicBezTo>
                  <a:cubicBezTo>
                    <a:pt x="528" y="1716"/>
                    <a:pt x="533" y="1716"/>
                    <a:pt x="536" y="1717"/>
                  </a:cubicBezTo>
                  <a:cubicBezTo>
                    <a:pt x="547" y="1706"/>
                    <a:pt x="555" y="1692"/>
                    <a:pt x="536" y="1675"/>
                  </a:cubicBezTo>
                  <a:cubicBezTo>
                    <a:pt x="500" y="1641"/>
                    <a:pt x="467" y="1627"/>
                    <a:pt x="490" y="1597"/>
                  </a:cubicBezTo>
                  <a:cubicBezTo>
                    <a:pt x="513" y="1566"/>
                    <a:pt x="513" y="1552"/>
                    <a:pt x="539" y="1544"/>
                  </a:cubicBezTo>
                  <a:cubicBezTo>
                    <a:pt x="566" y="1536"/>
                    <a:pt x="562" y="1516"/>
                    <a:pt x="582" y="1477"/>
                  </a:cubicBezTo>
                  <a:cubicBezTo>
                    <a:pt x="602" y="1438"/>
                    <a:pt x="592" y="1391"/>
                    <a:pt x="634" y="1388"/>
                  </a:cubicBezTo>
                  <a:cubicBezTo>
                    <a:pt x="677" y="1386"/>
                    <a:pt x="664" y="1374"/>
                    <a:pt x="684" y="1344"/>
                  </a:cubicBezTo>
                  <a:cubicBezTo>
                    <a:pt x="703" y="1313"/>
                    <a:pt x="720" y="1322"/>
                    <a:pt x="733" y="1313"/>
                  </a:cubicBezTo>
                  <a:cubicBezTo>
                    <a:pt x="746" y="1305"/>
                    <a:pt x="736" y="1244"/>
                    <a:pt x="792" y="1241"/>
                  </a:cubicBezTo>
                  <a:cubicBezTo>
                    <a:pt x="847" y="1238"/>
                    <a:pt x="887" y="1252"/>
                    <a:pt x="906" y="1219"/>
                  </a:cubicBezTo>
                  <a:cubicBezTo>
                    <a:pt x="926" y="1185"/>
                    <a:pt x="952" y="1180"/>
                    <a:pt x="962" y="1152"/>
                  </a:cubicBezTo>
                  <a:cubicBezTo>
                    <a:pt x="968" y="1135"/>
                    <a:pt x="976" y="1125"/>
                    <a:pt x="985" y="1110"/>
                  </a:cubicBezTo>
                  <a:cubicBezTo>
                    <a:pt x="953" y="1082"/>
                    <a:pt x="922" y="1049"/>
                    <a:pt x="924" y="1018"/>
                  </a:cubicBezTo>
                  <a:cubicBezTo>
                    <a:pt x="913" y="1022"/>
                    <a:pt x="902" y="1028"/>
                    <a:pt x="897" y="1035"/>
                  </a:cubicBezTo>
                  <a:cubicBezTo>
                    <a:pt x="883" y="1052"/>
                    <a:pt x="874" y="1066"/>
                    <a:pt x="841" y="1049"/>
                  </a:cubicBezTo>
                  <a:cubicBezTo>
                    <a:pt x="808" y="1032"/>
                    <a:pt x="802" y="999"/>
                    <a:pt x="782" y="1024"/>
                  </a:cubicBezTo>
                  <a:cubicBezTo>
                    <a:pt x="762" y="1049"/>
                    <a:pt x="746" y="1044"/>
                    <a:pt x="723" y="1021"/>
                  </a:cubicBezTo>
                  <a:cubicBezTo>
                    <a:pt x="700" y="999"/>
                    <a:pt x="690" y="969"/>
                    <a:pt x="707" y="957"/>
                  </a:cubicBezTo>
                  <a:cubicBezTo>
                    <a:pt x="723" y="946"/>
                    <a:pt x="736" y="924"/>
                    <a:pt x="723" y="907"/>
                  </a:cubicBezTo>
                  <a:cubicBezTo>
                    <a:pt x="710" y="891"/>
                    <a:pt x="710" y="866"/>
                    <a:pt x="710" y="843"/>
                  </a:cubicBezTo>
                  <a:cubicBezTo>
                    <a:pt x="710" y="821"/>
                    <a:pt x="707" y="799"/>
                    <a:pt x="680" y="805"/>
                  </a:cubicBezTo>
                  <a:cubicBezTo>
                    <a:pt x="654" y="810"/>
                    <a:pt x="631" y="818"/>
                    <a:pt x="631" y="838"/>
                  </a:cubicBezTo>
                  <a:cubicBezTo>
                    <a:pt x="631" y="857"/>
                    <a:pt x="621" y="877"/>
                    <a:pt x="602" y="860"/>
                  </a:cubicBezTo>
                  <a:cubicBezTo>
                    <a:pt x="582" y="843"/>
                    <a:pt x="572" y="835"/>
                    <a:pt x="536" y="846"/>
                  </a:cubicBezTo>
                  <a:cubicBezTo>
                    <a:pt x="500" y="857"/>
                    <a:pt x="467" y="863"/>
                    <a:pt x="444" y="843"/>
                  </a:cubicBezTo>
                  <a:cubicBezTo>
                    <a:pt x="422" y="824"/>
                    <a:pt x="395" y="807"/>
                    <a:pt x="395" y="782"/>
                  </a:cubicBezTo>
                  <a:cubicBezTo>
                    <a:pt x="395" y="757"/>
                    <a:pt x="389" y="735"/>
                    <a:pt x="412" y="721"/>
                  </a:cubicBezTo>
                  <a:cubicBezTo>
                    <a:pt x="435" y="707"/>
                    <a:pt x="438" y="696"/>
                    <a:pt x="458" y="693"/>
                  </a:cubicBezTo>
                  <a:cubicBezTo>
                    <a:pt x="477" y="691"/>
                    <a:pt x="494" y="677"/>
                    <a:pt x="484" y="663"/>
                  </a:cubicBezTo>
                  <a:cubicBezTo>
                    <a:pt x="474" y="649"/>
                    <a:pt x="451" y="604"/>
                    <a:pt x="481" y="585"/>
                  </a:cubicBezTo>
                  <a:cubicBezTo>
                    <a:pt x="510" y="565"/>
                    <a:pt x="543" y="571"/>
                    <a:pt x="546" y="540"/>
                  </a:cubicBezTo>
                  <a:cubicBezTo>
                    <a:pt x="549" y="510"/>
                    <a:pt x="543" y="507"/>
                    <a:pt x="572" y="485"/>
                  </a:cubicBezTo>
                  <a:cubicBezTo>
                    <a:pt x="602" y="463"/>
                    <a:pt x="608" y="460"/>
                    <a:pt x="634" y="482"/>
                  </a:cubicBezTo>
                  <a:cubicBezTo>
                    <a:pt x="661" y="504"/>
                    <a:pt x="693" y="538"/>
                    <a:pt x="733" y="532"/>
                  </a:cubicBezTo>
                  <a:cubicBezTo>
                    <a:pt x="772" y="527"/>
                    <a:pt x="831" y="527"/>
                    <a:pt x="798" y="552"/>
                  </a:cubicBezTo>
                  <a:cubicBezTo>
                    <a:pt x="766" y="577"/>
                    <a:pt x="762" y="604"/>
                    <a:pt x="779" y="616"/>
                  </a:cubicBezTo>
                  <a:cubicBezTo>
                    <a:pt x="795" y="627"/>
                    <a:pt x="802" y="646"/>
                    <a:pt x="838" y="649"/>
                  </a:cubicBezTo>
                  <a:cubicBezTo>
                    <a:pt x="874" y="652"/>
                    <a:pt x="893" y="668"/>
                    <a:pt x="870" y="693"/>
                  </a:cubicBezTo>
                  <a:cubicBezTo>
                    <a:pt x="847" y="718"/>
                    <a:pt x="854" y="743"/>
                    <a:pt x="867" y="757"/>
                  </a:cubicBezTo>
                  <a:cubicBezTo>
                    <a:pt x="880" y="771"/>
                    <a:pt x="923" y="788"/>
                    <a:pt x="933" y="805"/>
                  </a:cubicBezTo>
                  <a:cubicBezTo>
                    <a:pt x="942" y="821"/>
                    <a:pt x="949" y="818"/>
                    <a:pt x="962" y="824"/>
                  </a:cubicBezTo>
                  <a:cubicBezTo>
                    <a:pt x="975" y="830"/>
                    <a:pt x="982" y="852"/>
                    <a:pt x="982" y="866"/>
                  </a:cubicBezTo>
                  <a:cubicBezTo>
                    <a:pt x="982" y="876"/>
                    <a:pt x="990" y="881"/>
                    <a:pt x="996" y="895"/>
                  </a:cubicBezTo>
                  <a:cubicBezTo>
                    <a:pt x="1007" y="897"/>
                    <a:pt x="1021" y="903"/>
                    <a:pt x="1035" y="908"/>
                  </a:cubicBezTo>
                  <a:cubicBezTo>
                    <a:pt x="1066" y="919"/>
                    <a:pt x="1079" y="886"/>
                    <a:pt x="1123" y="875"/>
                  </a:cubicBezTo>
                  <a:cubicBezTo>
                    <a:pt x="1166" y="864"/>
                    <a:pt x="1223" y="853"/>
                    <a:pt x="1232" y="823"/>
                  </a:cubicBezTo>
                  <a:cubicBezTo>
                    <a:pt x="1241" y="793"/>
                    <a:pt x="1241" y="693"/>
                    <a:pt x="1293" y="667"/>
                  </a:cubicBezTo>
                  <a:cubicBezTo>
                    <a:pt x="1311" y="659"/>
                    <a:pt x="1329" y="649"/>
                    <a:pt x="1348" y="636"/>
                  </a:cubicBezTo>
                  <a:cubicBezTo>
                    <a:pt x="1317" y="593"/>
                    <a:pt x="1259" y="533"/>
                    <a:pt x="1251" y="514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" name="Freeform 33"/>
            <p:cNvSpPr>
              <a:spLocks/>
            </p:cNvSpPr>
            <p:nvPr/>
          </p:nvSpPr>
          <p:spPr bwMode="auto">
            <a:xfrm>
              <a:off x="4183" y="1579"/>
              <a:ext cx="205" cy="193"/>
            </a:xfrm>
            <a:custGeom>
              <a:avLst/>
              <a:gdLst>
                <a:gd name="T0" fmla="*/ 347 w 442"/>
                <a:gd name="T1" fmla="*/ 322 h 417"/>
                <a:gd name="T2" fmla="*/ 399 w 442"/>
                <a:gd name="T3" fmla="*/ 286 h 417"/>
                <a:gd name="T4" fmla="*/ 393 w 442"/>
                <a:gd name="T5" fmla="*/ 219 h 417"/>
                <a:gd name="T6" fmla="*/ 424 w 442"/>
                <a:gd name="T7" fmla="*/ 183 h 417"/>
                <a:gd name="T8" fmla="*/ 390 w 442"/>
                <a:gd name="T9" fmla="*/ 156 h 417"/>
                <a:gd name="T10" fmla="*/ 409 w 442"/>
                <a:gd name="T11" fmla="*/ 92 h 417"/>
                <a:gd name="T12" fmla="*/ 344 w 442"/>
                <a:gd name="T13" fmla="*/ 72 h 417"/>
                <a:gd name="T14" fmla="*/ 245 w 442"/>
                <a:gd name="T15" fmla="*/ 22 h 417"/>
                <a:gd name="T16" fmla="*/ 183 w 442"/>
                <a:gd name="T17" fmla="*/ 25 h 417"/>
                <a:gd name="T18" fmla="*/ 157 w 442"/>
                <a:gd name="T19" fmla="*/ 80 h 417"/>
                <a:gd name="T20" fmla="*/ 92 w 442"/>
                <a:gd name="T21" fmla="*/ 125 h 417"/>
                <a:gd name="T22" fmla="*/ 95 w 442"/>
                <a:gd name="T23" fmla="*/ 203 h 417"/>
                <a:gd name="T24" fmla="*/ 69 w 442"/>
                <a:gd name="T25" fmla="*/ 233 h 417"/>
                <a:gd name="T26" fmla="*/ 23 w 442"/>
                <a:gd name="T27" fmla="*/ 261 h 417"/>
                <a:gd name="T28" fmla="*/ 6 w 442"/>
                <a:gd name="T29" fmla="*/ 322 h 417"/>
                <a:gd name="T30" fmla="*/ 55 w 442"/>
                <a:gd name="T31" fmla="*/ 383 h 417"/>
                <a:gd name="T32" fmla="*/ 147 w 442"/>
                <a:gd name="T33" fmla="*/ 386 h 417"/>
                <a:gd name="T34" fmla="*/ 213 w 442"/>
                <a:gd name="T35" fmla="*/ 400 h 417"/>
                <a:gd name="T36" fmla="*/ 242 w 442"/>
                <a:gd name="T37" fmla="*/ 378 h 417"/>
                <a:gd name="T38" fmla="*/ 291 w 442"/>
                <a:gd name="T39" fmla="*/ 345 h 417"/>
                <a:gd name="T40" fmla="*/ 306 w 442"/>
                <a:gd name="T41" fmla="*/ 345 h 417"/>
                <a:gd name="T42" fmla="*/ 347 w 442"/>
                <a:gd name="T43" fmla="*/ 322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2" h="417">
                  <a:moveTo>
                    <a:pt x="347" y="322"/>
                  </a:moveTo>
                  <a:cubicBezTo>
                    <a:pt x="383" y="325"/>
                    <a:pt x="406" y="311"/>
                    <a:pt x="399" y="286"/>
                  </a:cubicBezTo>
                  <a:cubicBezTo>
                    <a:pt x="393" y="261"/>
                    <a:pt x="367" y="247"/>
                    <a:pt x="393" y="219"/>
                  </a:cubicBezTo>
                  <a:cubicBezTo>
                    <a:pt x="408" y="204"/>
                    <a:pt x="416" y="194"/>
                    <a:pt x="424" y="183"/>
                  </a:cubicBezTo>
                  <a:cubicBezTo>
                    <a:pt x="408" y="176"/>
                    <a:pt x="401" y="163"/>
                    <a:pt x="390" y="156"/>
                  </a:cubicBezTo>
                  <a:cubicBezTo>
                    <a:pt x="373" y="144"/>
                    <a:pt x="377" y="117"/>
                    <a:pt x="409" y="92"/>
                  </a:cubicBezTo>
                  <a:cubicBezTo>
                    <a:pt x="442" y="67"/>
                    <a:pt x="383" y="67"/>
                    <a:pt x="344" y="72"/>
                  </a:cubicBezTo>
                  <a:cubicBezTo>
                    <a:pt x="304" y="78"/>
                    <a:pt x="272" y="44"/>
                    <a:pt x="245" y="22"/>
                  </a:cubicBezTo>
                  <a:cubicBezTo>
                    <a:pt x="219" y="0"/>
                    <a:pt x="213" y="3"/>
                    <a:pt x="183" y="25"/>
                  </a:cubicBezTo>
                  <a:cubicBezTo>
                    <a:pt x="154" y="47"/>
                    <a:pt x="160" y="50"/>
                    <a:pt x="157" y="80"/>
                  </a:cubicBezTo>
                  <a:cubicBezTo>
                    <a:pt x="154" y="111"/>
                    <a:pt x="121" y="105"/>
                    <a:pt x="92" y="125"/>
                  </a:cubicBezTo>
                  <a:cubicBezTo>
                    <a:pt x="62" y="144"/>
                    <a:pt x="85" y="189"/>
                    <a:pt x="95" y="203"/>
                  </a:cubicBezTo>
                  <a:cubicBezTo>
                    <a:pt x="105" y="217"/>
                    <a:pt x="88" y="231"/>
                    <a:pt x="69" y="233"/>
                  </a:cubicBezTo>
                  <a:cubicBezTo>
                    <a:pt x="49" y="236"/>
                    <a:pt x="46" y="247"/>
                    <a:pt x="23" y="261"/>
                  </a:cubicBezTo>
                  <a:cubicBezTo>
                    <a:pt x="0" y="275"/>
                    <a:pt x="6" y="297"/>
                    <a:pt x="6" y="322"/>
                  </a:cubicBezTo>
                  <a:cubicBezTo>
                    <a:pt x="6" y="347"/>
                    <a:pt x="33" y="364"/>
                    <a:pt x="55" y="383"/>
                  </a:cubicBezTo>
                  <a:cubicBezTo>
                    <a:pt x="78" y="403"/>
                    <a:pt x="111" y="397"/>
                    <a:pt x="147" y="386"/>
                  </a:cubicBezTo>
                  <a:cubicBezTo>
                    <a:pt x="183" y="375"/>
                    <a:pt x="193" y="383"/>
                    <a:pt x="213" y="400"/>
                  </a:cubicBezTo>
                  <a:cubicBezTo>
                    <a:pt x="232" y="417"/>
                    <a:pt x="242" y="397"/>
                    <a:pt x="242" y="378"/>
                  </a:cubicBezTo>
                  <a:cubicBezTo>
                    <a:pt x="242" y="358"/>
                    <a:pt x="265" y="350"/>
                    <a:pt x="291" y="345"/>
                  </a:cubicBezTo>
                  <a:cubicBezTo>
                    <a:pt x="297" y="343"/>
                    <a:pt x="302" y="344"/>
                    <a:pt x="306" y="345"/>
                  </a:cubicBezTo>
                  <a:cubicBezTo>
                    <a:pt x="318" y="332"/>
                    <a:pt x="333" y="321"/>
                    <a:pt x="347" y="322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" name="Freeform 34"/>
            <p:cNvSpPr>
              <a:spLocks/>
            </p:cNvSpPr>
            <p:nvPr/>
          </p:nvSpPr>
          <p:spPr bwMode="auto">
            <a:xfrm>
              <a:off x="4323" y="1664"/>
              <a:ext cx="141" cy="196"/>
            </a:xfrm>
            <a:custGeom>
              <a:avLst/>
              <a:gdLst>
                <a:gd name="T0" fmla="*/ 292 w 306"/>
                <a:gd name="T1" fmla="*/ 223 h 423"/>
                <a:gd name="T2" fmla="*/ 272 w 306"/>
                <a:gd name="T3" fmla="*/ 181 h 423"/>
                <a:gd name="T4" fmla="*/ 243 w 306"/>
                <a:gd name="T5" fmla="*/ 162 h 423"/>
                <a:gd name="T6" fmla="*/ 177 w 306"/>
                <a:gd name="T7" fmla="*/ 114 h 423"/>
                <a:gd name="T8" fmla="*/ 180 w 306"/>
                <a:gd name="T9" fmla="*/ 50 h 423"/>
                <a:gd name="T10" fmla="*/ 148 w 306"/>
                <a:gd name="T11" fmla="*/ 6 h 423"/>
                <a:gd name="T12" fmla="*/ 123 w 306"/>
                <a:gd name="T13" fmla="*/ 0 h 423"/>
                <a:gd name="T14" fmla="*/ 92 w 306"/>
                <a:gd name="T15" fmla="*/ 36 h 423"/>
                <a:gd name="T16" fmla="*/ 98 w 306"/>
                <a:gd name="T17" fmla="*/ 103 h 423"/>
                <a:gd name="T18" fmla="*/ 46 w 306"/>
                <a:gd name="T19" fmla="*/ 139 h 423"/>
                <a:gd name="T20" fmla="*/ 5 w 306"/>
                <a:gd name="T21" fmla="*/ 162 h 423"/>
                <a:gd name="T22" fmla="*/ 20 w 306"/>
                <a:gd name="T23" fmla="*/ 200 h 423"/>
                <a:gd name="T24" fmla="*/ 33 w 306"/>
                <a:gd name="T25" fmla="*/ 264 h 423"/>
                <a:gd name="T26" fmla="*/ 17 w 306"/>
                <a:gd name="T27" fmla="*/ 314 h 423"/>
                <a:gd name="T28" fmla="*/ 33 w 306"/>
                <a:gd name="T29" fmla="*/ 378 h 423"/>
                <a:gd name="T30" fmla="*/ 92 w 306"/>
                <a:gd name="T31" fmla="*/ 381 h 423"/>
                <a:gd name="T32" fmla="*/ 151 w 306"/>
                <a:gd name="T33" fmla="*/ 406 h 423"/>
                <a:gd name="T34" fmla="*/ 207 w 306"/>
                <a:gd name="T35" fmla="*/ 392 h 423"/>
                <a:gd name="T36" fmla="*/ 234 w 306"/>
                <a:gd name="T37" fmla="*/ 375 h 423"/>
                <a:gd name="T38" fmla="*/ 236 w 306"/>
                <a:gd name="T39" fmla="*/ 362 h 423"/>
                <a:gd name="T40" fmla="*/ 280 w 306"/>
                <a:gd name="T41" fmla="*/ 269 h 423"/>
                <a:gd name="T42" fmla="*/ 306 w 306"/>
                <a:gd name="T43" fmla="*/ 252 h 423"/>
                <a:gd name="T44" fmla="*/ 292 w 306"/>
                <a:gd name="T45" fmla="*/ 22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6" h="423">
                  <a:moveTo>
                    <a:pt x="292" y="223"/>
                  </a:moveTo>
                  <a:cubicBezTo>
                    <a:pt x="292" y="209"/>
                    <a:pt x="285" y="187"/>
                    <a:pt x="272" y="181"/>
                  </a:cubicBezTo>
                  <a:cubicBezTo>
                    <a:pt x="259" y="175"/>
                    <a:pt x="252" y="178"/>
                    <a:pt x="243" y="162"/>
                  </a:cubicBezTo>
                  <a:cubicBezTo>
                    <a:pt x="233" y="145"/>
                    <a:pt x="190" y="128"/>
                    <a:pt x="177" y="114"/>
                  </a:cubicBezTo>
                  <a:cubicBezTo>
                    <a:pt x="164" y="100"/>
                    <a:pt x="157" y="75"/>
                    <a:pt x="180" y="50"/>
                  </a:cubicBezTo>
                  <a:cubicBezTo>
                    <a:pt x="203" y="25"/>
                    <a:pt x="184" y="9"/>
                    <a:pt x="148" y="6"/>
                  </a:cubicBezTo>
                  <a:cubicBezTo>
                    <a:pt x="137" y="5"/>
                    <a:pt x="130" y="3"/>
                    <a:pt x="123" y="0"/>
                  </a:cubicBezTo>
                  <a:cubicBezTo>
                    <a:pt x="115" y="11"/>
                    <a:pt x="107" y="21"/>
                    <a:pt x="92" y="36"/>
                  </a:cubicBezTo>
                  <a:cubicBezTo>
                    <a:pt x="66" y="64"/>
                    <a:pt x="92" y="78"/>
                    <a:pt x="98" y="103"/>
                  </a:cubicBezTo>
                  <a:cubicBezTo>
                    <a:pt x="105" y="128"/>
                    <a:pt x="82" y="142"/>
                    <a:pt x="46" y="139"/>
                  </a:cubicBezTo>
                  <a:cubicBezTo>
                    <a:pt x="32" y="138"/>
                    <a:pt x="17" y="149"/>
                    <a:pt x="5" y="162"/>
                  </a:cubicBezTo>
                  <a:cubicBezTo>
                    <a:pt x="18" y="166"/>
                    <a:pt x="20" y="183"/>
                    <a:pt x="20" y="200"/>
                  </a:cubicBezTo>
                  <a:cubicBezTo>
                    <a:pt x="20" y="223"/>
                    <a:pt x="20" y="248"/>
                    <a:pt x="33" y="264"/>
                  </a:cubicBezTo>
                  <a:cubicBezTo>
                    <a:pt x="46" y="281"/>
                    <a:pt x="33" y="303"/>
                    <a:pt x="17" y="314"/>
                  </a:cubicBezTo>
                  <a:cubicBezTo>
                    <a:pt x="0" y="326"/>
                    <a:pt x="10" y="356"/>
                    <a:pt x="33" y="378"/>
                  </a:cubicBezTo>
                  <a:cubicBezTo>
                    <a:pt x="56" y="401"/>
                    <a:pt x="72" y="406"/>
                    <a:pt x="92" y="381"/>
                  </a:cubicBezTo>
                  <a:cubicBezTo>
                    <a:pt x="112" y="356"/>
                    <a:pt x="118" y="389"/>
                    <a:pt x="151" y="406"/>
                  </a:cubicBezTo>
                  <a:cubicBezTo>
                    <a:pt x="184" y="423"/>
                    <a:pt x="193" y="409"/>
                    <a:pt x="207" y="392"/>
                  </a:cubicBezTo>
                  <a:cubicBezTo>
                    <a:pt x="212" y="385"/>
                    <a:pt x="223" y="379"/>
                    <a:pt x="234" y="375"/>
                  </a:cubicBezTo>
                  <a:cubicBezTo>
                    <a:pt x="234" y="370"/>
                    <a:pt x="235" y="366"/>
                    <a:pt x="236" y="362"/>
                  </a:cubicBezTo>
                  <a:cubicBezTo>
                    <a:pt x="249" y="325"/>
                    <a:pt x="271" y="299"/>
                    <a:pt x="280" y="269"/>
                  </a:cubicBezTo>
                  <a:cubicBezTo>
                    <a:pt x="284" y="253"/>
                    <a:pt x="294" y="250"/>
                    <a:pt x="306" y="252"/>
                  </a:cubicBezTo>
                  <a:cubicBezTo>
                    <a:pt x="300" y="238"/>
                    <a:pt x="292" y="233"/>
                    <a:pt x="292" y="223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" name="Freeform 35"/>
            <p:cNvSpPr>
              <a:spLocks/>
            </p:cNvSpPr>
            <p:nvPr/>
          </p:nvSpPr>
          <p:spPr bwMode="auto">
            <a:xfrm>
              <a:off x="5023" y="3295"/>
              <a:ext cx="201" cy="412"/>
            </a:xfrm>
            <a:custGeom>
              <a:avLst/>
              <a:gdLst>
                <a:gd name="T0" fmla="*/ 172 w 434"/>
                <a:gd name="T1" fmla="*/ 136 h 890"/>
                <a:gd name="T2" fmla="*/ 137 w 434"/>
                <a:gd name="T3" fmla="*/ 212 h 890"/>
                <a:gd name="T4" fmla="*/ 102 w 434"/>
                <a:gd name="T5" fmla="*/ 249 h 890"/>
                <a:gd name="T6" fmla="*/ 78 w 434"/>
                <a:gd name="T7" fmla="*/ 336 h 890"/>
                <a:gd name="T8" fmla="*/ 50 w 434"/>
                <a:gd name="T9" fmla="*/ 406 h 890"/>
                <a:gd name="T10" fmla="*/ 43 w 434"/>
                <a:gd name="T11" fmla="*/ 445 h 890"/>
                <a:gd name="T12" fmla="*/ 13 w 434"/>
                <a:gd name="T13" fmla="*/ 506 h 890"/>
                <a:gd name="T14" fmla="*/ 32 w 434"/>
                <a:gd name="T15" fmla="*/ 545 h 890"/>
                <a:gd name="T16" fmla="*/ 28 w 434"/>
                <a:gd name="T17" fmla="*/ 625 h 890"/>
                <a:gd name="T18" fmla="*/ 72 w 434"/>
                <a:gd name="T19" fmla="*/ 668 h 890"/>
                <a:gd name="T20" fmla="*/ 111 w 434"/>
                <a:gd name="T21" fmla="*/ 734 h 890"/>
                <a:gd name="T22" fmla="*/ 185 w 434"/>
                <a:gd name="T23" fmla="*/ 773 h 890"/>
                <a:gd name="T24" fmla="*/ 244 w 434"/>
                <a:gd name="T25" fmla="*/ 834 h 890"/>
                <a:gd name="T26" fmla="*/ 284 w 434"/>
                <a:gd name="T27" fmla="*/ 888 h 890"/>
                <a:gd name="T28" fmla="*/ 312 w 434"/>
                <a:gd name="T29" fmla="*/ 855 h 890"/>
                <a:gd name="T30" fmla="*/ 301 w 434"/>
                <a:gd name="T31" fmla="*/ 788 h 890"/>
                <a:gd name="T32" fmla="*/ 318 w 434"/>
                <a:gd name="T33" fmla="*/ 705 h 890"/>
                <a:gd name="T34" fmla="*/ 364 w 434"/>
                <a:gd name="T35" fmla="*/ 619 h 890"/>
                <a:gd name="T36" fmla="*/ 377 w 434"/>
                <a:gd name="T37" fmla="*/ 580 h 890"/>
                <a:gd name="T38" fmla="*/ 388 w 434"/>
                <a:gd name="T39" fmla="*/ 492 h 890"/>
                <a:gd name="T40" fmla="*/ 401 w 434"/>
                <a:gd name="T41" fmla="*/ 438 h 890"/>
                <a:gd name="T42" fmla="*/ 397 w 434"/>
                <a:gd name="T43" fmla="*/ 386 h 890"/>
                <a:gd name="T44" fmla="*/ 419 w 434"/>
                <a:gd name="T45" fmla="*/ 336 h 890"/>
                <a:gd name="T46" fmla="*/ 404 w 434"/>
                <a:gd name="T47" fmla="*/ 278 h 890"/>
                <a:gd name="T48" fmla="*/ 432 w 434"/>
                <a:gd name="T49" fmla="*/ 206 h 890"/>
                <a:gd name="T50" fmla="*/ 406 w 434"/>
                <a:gd name="T51" fmla="*/ 115 h 890"/>
                <a:gd name="T52" fmla="*/ 406 w 434"/>
                <a:gd name="T53" fmla="*/ 45 h 890"/>
                <a:gd name="T54" fmla="*/ 329 w 434"/>
                <a:gd name="T55" fmla="*/ 30 h 890"/>
                <a:gd name="T56" fmla="*/ 294 w 434"/>
                <a:gd name="T57" fmla="*/ 15 h 890"/>
                <a:gd name="T58" fmla="*/ 238 w 434"/>
                <a:gd name="T59" fmla="*/ 62 h 890"/>
                <a:gd name="T60" fmla="*/ 183 w 434"/>
                <a:gd name="T61" fmla="*/ 93 h 890"/>
                <a:gd name="T62" fmla="*/ 172 w 434"/>
                <a:gd name="T63" fmla="*/ 136 h 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34" h="890">
                  <a:moveTo>
                    <a:pt x="172" y="136"/>
                  </a:moveTo>
                  <a:cubicBezTo>
                    <a:pt x="172" y="136"/>
                    <a:pt x="166" y="208"/>
                    <a:pt x="137" y="212"/>
                  </a:cubicBezTo>
                  <a:cubicBezTo>
                    <a:pt x="109" y="215"/>
                    <a:pt x="111" y="225"/>
                    <a:pt x="102" y="249"/>
                  </a:cubicBezTo>
                  <a:cubicBezTo>
                    <a:pt x="93" y="273"/>
                    <a:pt x="93" y="317"/>
                    <a:pt x="78" y="336"/>
                  </a:cubicBezTo>
                  <a:cubicBezTo>
                    <a:pt x="63" y="354"/>
                    <a:pt x="48" y="391"/>
                    <a:pt x="50" y="406"/>
                  </a:cubicBezTo>
                  <a:cubicBezTo>
                    <a:pt x="52" y="421"/>
                    <a:pt x="56" y="434"/>
                    <a:pt x="43" y="445"/>
                  </a:cubicBezTo>
                  <a:cubicBezTo>
                    <a:pt x="30" y="456"/>
                    <a:pt x="8" y="484"/>
                    <a:pt x="13" y="506"/>
                  </a:cubicBezTo>
                  <a:cubicBezTo>
                    <a:pt x="17" y="529"/>
                    <a:pt x="32" y="516"/>
                    <a:pt x="32" y="545"/>
                  </a:cubicBezTo>
                  <a:cubicBezTo>
                    <a:pt x="32" y="575"/>
                    <a:pt x="0" y="595"/>
                    <a:pt x="28" y="625"/>
                  </a:cubicBezTo>
                  <a:cubicBezTo>
                    <a:pt x="56" y="655"/>
                    <a:pt x="67" y="649"/>
                    <a:pt x="72" y="668"/>
                  </a:cubicBezTo>
                  <a:cubicBezTo>
                    <a:pt x="76" y="686"/>
                    <a:pt x="83" y="710"/>
                    <a:pt x="111" y="734"/>
                  </a:cubicBezTo>
                  <a:cubicBezTo>
                    <a:pt x="139" y="758"/>
                    <a:pt x="166" y="747"/>
                    <a:pt x="185" y="773"/>
                  </a:cubicBezTo>
                  <a:cubicBezTo>
                    <a:pt x="205" y="799"/>
                    <a:pt x="240" y="808"/>
                    <a:pt x="244" y="834"/>
                  </a:cubicBezTo>
                  <a:cubicBezTo>
                    <a:pt x="249" y="860"/>
                    <a:pt x="266" y="886"/>
                    <a:pt x="284" y="888"/>
                  </a:cubicBezTo>
                  <a:cubicBezTo>
                    <a:pt x="301" y="890"/>
                    <a:pt x="325" y="881"/>
                    <a:pt x="312" y="855"/>
                  </a:cubicBezTo>
                  <a:cubicBezTo>
                    <a:pt x="299" y="829"/>
                    <a:pt x="308" y="816"/>
                    <a:pt x="301" y="788"/>
                  </a:cubicBezTo>
                  <a:cubicBezTo>
                    <a:pt x="294" y="760"/>
                    <a:pt x="294" y="727"/>
                    <a:pt x="318" y="705"/>
                  </a:cubicBezTo>
                  <a:cubicBezTo>
                    <a:pt x="342" y="682"/>
                    <a:pt x="362" y="645"/>
                    <a:pt x="364" y="619"/>
                  </a:cubicBezTo>
                  <a:cubicBezTo>
                    <a:pt x="366" y="593"/>
                    <a:pt x="358" y="593"/>
                    <a:pt x="377" y="580"/>
                  </a:cubicBezTo>
                  <a:cubicBezTo>
                    <a:pt x="397" y="568"/>
                    <a:pt x="371" y="512"/>
                    <a:pt x="388" y="492"/>
                  </a:cubicBezTo>
                  <a:cubicBezTo>
                    <a:pt x="406" y="471"/>
                    <a:pt x="415" y="451"/>
                    <a:pt x="401" y="438"/>
                  </a:cubicBezTo>
                  <a:cubicBezTo>
                    <a:pt x="388" y="425"/>
                    <a:pt x="380" y="395"/>
                    <a:pt x="397" y="386"/>
                  </a:cubicBezTo>
                  <a:cubicBezTo>
                    <a:pt x="415" y="377"/>
                    <a:pt x="432" y="356"/>
                    <a:pt x="419" y="336"/>
                  </a:cubicBezTo>
                  <a:cubicBezTo>
                    <a:pt x="406" y="315"/>
                    <a:pt x="397" y="306"/>
                    <a:pt x="404" y="278"/>
                  </a:cubicBezTo>
                  <a:cubicBezTo>
                    <a:pt x="410" y="251"/>
                    <a:pt x="430" y="239"/>
                    <a:pt x="432" y="206"/>
                  </a:cubicBezTo>
                  <a:cubicBezTo>
                    <a:pt x="434" y="173"/>
                    <a:pt x="401" y="149"/>
                    <a:pt x="406" y="115"/>
                  </a:cubicBezTo>
                  <a:cubicBezTo>
                    <a:pt x="410" y="82"/>
                    <a:pt x="423" y="58"/>
                    <a:pt x="406" y="45"/>
                  </a:cubicBezTo>
                  <a:cubicBezTo>
                    <a:pt x="388" y="32"/>
                    <a:pt x="340" y="41"/>
                    <a:pt x="329" y="30"/>
                  </a:cubicBezTo>
                  <a:cubicBezTo>
                    <a:pt x="318" y="19"/>
                    <a:pt x="312" y="0"/>
                    <a:pt x="294" y="15"/>
                  </a:cubicBezTo>
                  <a:cubicBezTo>
                    <a:pt x="277" y="30"/>
                    <a:pt x="259" y="56"/>
                    <a:pt x="238" y="62"/>
                  </a:cubicBezTo>
                  <a:cubicBezTo>
                    <a:pt x="216" y="67"/>
                    <a:pt x="198" y="78"/>
                    <a:pt x="183" y="93"/>
                  </a:cubicBezTo>
                  <a:cubicBezTo>
                    <a:pt x="168" y="108"/>
                    <a:pt x="172" y="113"/>
                    <a:pt x="172" y="136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" name="Freeform 36"/>
            <p:cNvSpPr>
              <a:spLocks/>
            </p:cNvSpPr>
            <p:nvPr/>
          </p:nvSpPr>
          <p:spPr bwMode="auto">
            <a:xfrm>
              <a:off x="5438" y="3349"/>
              <a:ext cx="38" cy="22"/>
            </a:xfrm>
            <a:custGeom>
              <a:avLst/>
              <a:gdLst>
                <a:gd name="T0" fmla="*/ 53 w 81"/>
                <a:gd name="T1" fmla="*/ 2 h 48"/>
                <a:gd name="T2" fmla="*/ 5 w 81"/>
                <a:gd name="T3" fmla="*/ 19 h 48"/>
                <a:gd name="T4" fmla="*/ 31 w 81"/>
                <a:gd name="T5" fmla="*/ 45 h 48"/>
                <a:gd name="T6" fmla="*/ 53 w 81"/>
                <a:gd name="T7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1" h="48">
                  <a:moveTo>
                    <a:pt x="53" y="2"/>
                  </a:moveTo>
                  <a:cubicBezTo>
                    <a:pt x="53" y="2"/>
                    <a:pt x="0" y="0"/>
                    <a:pt x="5" y="19"/>
                  </a:cubicBezTo>
                  <a:cubicBezTo>
                    <a:pt x="9" y="37"/>
                    <a:pt x="5" y="41"/>
                    <a:pt x="31" y="45"/>
                  </a:cubicBezTo>
                  <a:cubicBezTo>
                    <a:pt x="57" y="48"/>
                    <a:pt x="81" y="15"/>
                    <a:pt x="53" y="2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" name="Freeform 37"/>
            <p:cNvSpPr>
              <a:spLocks/>
            </p:cNvSpPr>
            <p:nvPr/>
          </p:nvSpPr>
          <p:spPr bwMode="auto">
            <a:xfrm>
              <a:off x="5489" y="3325"/>
              <a:ext cx="25" cy="32"/>
            </a:xfrm>
            <a:custGeom>
              <a:avLst/>
              <a:gdLst>
                <a:gd name="T0" fmla="*/ 33 w 55"/>
                <a:gd name="T1" fmla="*/ 0 h 69"/>
                <a:gd name="T2" fmla="*/ 3 w 55"/>
                <a:gd name="T3" fmla="*/ 34 h 69"/>
                <a:gd name="T4" fmla="*/ 35 w 55"/>
                <a:gd name="T5" fmla="*/ 50 h 69"/>
                <a:gd name="T6" fmla="*/ 33 w 55"/>
                <a:gd name="T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" h="69">
                  <a:moveTo>
                    <a:pt x="33" y="0"/>
                  </a:moveTo>
                  <a:cubicBezTo>
                    <a:pt x="33" y="0"/>
                    <a:pt x="0" y="15"/>
                    <a:pt x="3" y="34"/>
                  </a:cubicBezTo>
                  <a:cubicBezTo>
                    <a:pt x="5" y="52"/>
                    <a:pt x="31" y="69"/>
                    <a:pt x="35" y="50"/>
                  </a:cubicBezTo>
                  <a:cubicBezTo>
                    <a:pt x="40" y="32"/>
                    <a:pt x="55" y="4"/>
                    <a:pt x="33" y="0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" name="Freeform 38"/>
            <p:cNvSpPr>
              <a:spLocks/>
            </p:cNvSpPr>
            <p:nvPr/>
          </p:nvSpPr>
          <p:spPr bwMode="auto">
            <a:xfrm>
              <a:off x="5605" y="3264"/>
              <a:ext cx="36" cy="26"/>
            </a:xfrm>
            <a:custGeom>
              <a:avLst/>
              <a:gdLst>
                <a:gd name="T0" fmla="*/ 45 w 78"/>
                <a:gd name="T1" fmla="*/ 9 h 55"/>
                <a:gd name="T2" fmla="*/ 2 w 78"/>
                <a:gd name="T3" fmla="*/ 11 h 55"/>
                <a:gd name="T4" fmla="*/ 19 w 78"/>
                <a:gd name="T5" fmla="*/ 40 h 55"/>
                <a:gd name="T6" fmla="*/ 50 w 78"/>
                <a:gd name="T7" fmla="*/ 44 h 55"/>
                <a:gd name="T8" fmla="*/ 45 w 78"/>
                <a:gd name="T9" fmla="*/ 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55">
                  <a:moveTo>
                    <a:pt x="45" y="9"/>
                  </a:moveTo>
                  <a:cubicBezTo>
                    <a:pt x="45" y="9"/>
                    <a:pt x="0" y="0"/>
                    <a:pt x="2" y="11"/>
                  </a:cubicBezTo>
                  <a:cubicBezTo>
                    <a:pt x="4" y="22"/>
                    <a:pt x="15" y="28"/>
                    <a:pt x="19" y="40"/>
                  </a:cubicBezTo>
                  <a:cubicBezTo>
                    <a:pt x="24" y="53"/>
                    <a:pt x="43" y="55"/>
                    <a:pt x="50" y="44"/>
                  </a:cubicBezTo>
                  <a:cubicBezTo>
                    <a:pt x="56" y="33"/>
                    <a:pt x="78" y="9"/>
                    <a:pt x="45" y="9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6" name="Gruppieren 96">
            <a:extLst>
              <a:ext uri="{FF2B5EF4-FFF2-40B4-BE49-F238E27FC236}">
                <a16:creationId xmlns:a16="http://schemas.microsoft.com/office/drawing/2014/main" id="{CB1E9A1D-D45C-B9AA-6CEC-9591A9C5AF95}"/>
              </a:ext>
            </a:extLst>
          </p:cNvPr>
          <p:cNvGrpSpPr>
            <a:grpSpLocks/>
          </p:cNvGrpSpPr>
          <p:nvPr/>
        </p:nvGrpSpPr>
        <p:grpSpPr>
          <a:xfrm>
            <a:off x="7489329" y="2912845"/>
            <a:ext cx="304976" cy="304976"/>
            <a:chOff x="3476538" y="3554481"/>
            <a:chExt cx="828675" cy="828675"/>
          </a:xfrm>
        </p:grpSpPr>
        <p:sp>
          <p:nvSpPr>
            <p:cNvPr id="7" name="Träne 97">
              <a:extLst>
                <a:ext uri="{FF2B5EF4-FFF2-40B4-BE49-F238E27FC236}">
                  <a16:creationId xmlns:a16="http://schemas.microsoft.com/office/drawing/2014/main" id="{FB878AE6-2D4A-101D-FCE4-C2DBA55093FB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8" name="Ellipse 98">
              <a:extLst>
                <a:ext uri="{FF2B5EF4-FFF2-40B4-BE49-F238E27FC236}">
                  <a16:creationId xmlns:a16="http://schemas.microsoft.com/office/drawing/2014/main" id="{468448D0-BCFA-FEE9-8A1B-294A04BD20C8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191B8F4A-C05D-4593-E72C-4EE770B7031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ps</a:t>
            </a: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3A0E08C5-5C80-4E22-BAFD-E1651CE6CE02}"/>
              </a:ext>
            </a:extLst>
          </p:cNvPr>
          <p:cNvSpPr txBox="1">
            <a:spLocks/>
          </p:cNvSpPr>
          <p:nvPr/>
        </p:nvSpPr>
        <p:spPr>
          <a:xfrm>
            <a:off x="403200" y="258578"/>
            <a:ext cx="10087200" cy="33900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2D28"/>
                </a:solidFill>
                <a:latin typeface="+mj-lt"/>
                <a:ea typeface="理想品牌字体 2022" panose="02000500000000000000" pitchFamily="2" charset="-122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{title}</a:t>
            </a:r>
          </a:p>
        </p:txBody>
      </p:sp>
      <p:sp>
        <p:nvSpPr>
          <p:cNvPr id="49" name="Inhaltsplatzhalter 2">
            <a:extLst>
              <a:ext uri="{FF2B5EF4-FFF2-40B4-BE49-F238E27FC236}">
                <a16:creationId xmlns:a16="http://schemas.microsoft.com/office/drawing/2014/main" id="{C31C12A1-01E2-472A-950D-1A93A204B4F3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400" b="1" dirty="0">
              <a:solidFill>
                <a:srgbClr val="03522D"/>
              </a:solidFill>
              <a:latin typeface="理想品牌字体 2022"/>
              <a:ea typeface="理想品牌字体 2022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{bullet_2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3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4945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</Words>
  <Application>Microsoft Office PowerPoint</Application>
  <PresentationFormat>宽屏</PresentationFormat>
  <Paragraphs>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后梦雪</dc:creator>
  <cp:lastModifiedBy>后梦雪</cp:lastModifiedBy>
  <cp:revision>1</cp:revision>
  <dcterms:created xsi:type="dcterms:W3CDTF">2025-09-04T05:56:29Z</dcterms:created>
  <dcterms:modified xsi:type="dcterms:W3CDTF">2025-09-04T05:56:55Z</dcterms:modified>
</cp:coreProperties>
</file>